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2" r:id="rId3"/>
    <p:sldMasterId id="2147483708" r:id="rId4"/>
  </p:sldMasterIdLst>
  <p:notesMasterIdLst>
    <p:notesMasterId r:id="rId32"/>
  </p:notesMasterIdLst>
  <p:sldIdLst>
    <p:sldId id="256" r:id="rId5"/>
    <p:sldId id="440" r:id="rId6"/>
    <p:sldId id="504" r:id="rId7"/>
    <p:sldId id="505" r:id="rId8"/>
    <p:sldId id="477" r:id="rId9"/>
    <p:sldId id="258" r:id="rId10"/>
    <p:sldId id="479" r:id="rId11"/>
    <p:sldId id="506" r:id="rId12"/>
    <p:sldId id="486" r:id="rId13"/>
    <p:sldId id="488" r:id="rId14"/>
    <p:sldId id="493" r:id="rId15"/>
    <p:sldId id="508" r:id="rId16"/>
    <p:sldId id="458" r:id="rId17"/>
    <p:sldId id="1032" r:id="rId18"/>
    <p:sldId id="507" r:id="rId19"/>
    <p:sldId id="485" r:id="rId20"/>
    <p:sldId id="348" r:id="rId21"/>
    <p:sldId id="349" r:id="rId22"/>
    <p:sldId id="501" r:id="rId23"/>
    <p:sldId id="509" r:id="rId24"/>
    <p:sldId id="510" r:id="rId25"/>
    <p:sldId id="511" r:id="rId26"/>
    <p:sldId id="1033" r:id="rId27"/>
    <p:sldId id="1034" r:id="rId28"/>
    <p:sldId id="257" r:id="rId29"/>
    <p:sldId id="1035" r:id="rId30"/>
    <p:sldId id="1036" r:id="rId31"/>
  </p:sldIdLst>
  <p:sldSz cx="9144000" cy="5143500" type="screen16x9"/>
  <p:notesSz cx="6858000" cy="9144000"/>
  <p:custDataLst>
    <p:tags r:id="rId3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CE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1"/>
    <p:restoredTop sz="93140" autoAdjust="0"/>
  </p:normalViewPr>
  <p:slideViewPr>
    <p:cSldViewPr snapToGrid="0" snapToObjects="1">
      <p:cViewPr varScale="1">
        <p:scale>
          <a:sx n="136" d="100"/>
          <a:sy n="136" d="100"/>
        </p:scale>
        <p:origin x="894" y="11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ThendoR\Documents\Request\Dr%20Walaza\Flu%20subtpying\SRI%20VW%20FLU%20SUBTYPE_Final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966547844050364E-2"/>
          <c:y val="6.6374876988032128E-2"/>
          <c:w val="0.80434095780472259"/>
          <c:h val="0.573413243983602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SRI 2016-2023'!$C$1</c:f>
              <c:strCache>
                <c:ptCount val="1"/>
                <c:pt idx="0">
                  <c:v>A H1N1(pdm09)</c:v>
                </c:pt>
              </c:strCache>
            </c:strRef>
          </c:tx>
          <c:spPr>
            <a:solidFill>
              <a:srgbClr val="66FFFF"/>
            </a:solidFill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C$2:$C$287</c:f>
              <c:numCache>
                <c:formatCode>General</c:formatCode>
                <c:ptCount val="2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</c:v>
                </c:pt>
                <c:pt idx="14">
                  <c:v>0</c:v>
                </c:pt>
                <c:pt idx="15">
                  <c:v>3</c:v>
                </c:pt>
                <c:pt idx="16">
                  <c:v>4</c:v>
                </c:pt>
                <c:pt idx="17">
                  <c:v>1</c:v>
                </c:pt>
                <c:pt idx="18">
                  <c:v>9</c:v>
                </c:pt>
                <c:pt idx="19">
                  <c:v>5</c:v>
                </c:pt>
                <c:pt idx="20">
                  <c:v>13</c:v>
                </c:pt>
                <c:pt idx="21">
                  <c:v>17</c:v>
                </c:pt>
                <c:pt idx="22">
                  <c:v>22</c:v>
                </c:pt>
                <c:pt idx="23">
                  <c:v>26</c:v>
                </c:pt>
                <c:pt idx="24">
                  <c:v>23</c:v>
                </c:pt>
                <c:pt idx="25">
                  <c:v>17</c:v>
                </c:pt>
                <c:pt idx="26">
                  <c:v>6</c:v>
                </c:pt>
                <c:pt idx="27">
                  <c:v>12</c:v>
                </c:pt>
                <c:pt idx="28">
                  <c:v>4</c:v>
                </c:pt>
                <c:pt idx="29">
                  <c:v>0</c:v>
                </c:pt>
                <c:pt idx="30">
                  <c:v>1</c:v>
                </c:pt>
                <c:pt idx="31">
                  <c:v>0</c:v>
                </c:pt>
                <c:pt idx="32">
                  <c:v>0</c:v>
                </c:pt>
                <c:pt idx="33">
                  <c:v>2</c:v>
                </c:pt>
                <c:pt idx="34">
                  <c:v>0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2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1</c:v>
                </c:pt>
                <c:pt idx="74">
                  <c:v>2</c:v>
                </c:pt>
                <c:pt idx="75">
                  <c:v>0</c:v>
                </c:pt>
                <c:pt idx="76">
                  <c:v>1</c:v>
                </c:pt>
                <c:pt idx="77">
                  <c:v>1</c:v>
                </c:pt>
                <c:pt idx="78">
                  <c:v>0</c:v>
                </c:pt>
                <c:pt idx="79">
                  <c:v>2</c:v>
                </c:pt>
                <c:pt idx="80">
                  <c:v>1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0</c:v>
                </c:pt>
                <c:pt idx="86">
                  <c:v>1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1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1</c:v>
                </c:pt>
                <c:pt idx="110">
                  <c:v>1</c:v>
                </c:pt>
                <c:pt idx="111">
                  <c:v>0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7</c:v>
                </c:pt>
                <c:pt idx="117">
                  <c:v>3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2</c:v>
                </c:pt>
                <c:pt idx="192">
                  <c:v>1</c:v>
                </c:pt>
                <c:pt idx="193">
                  <c:v>4</c:v>
                </c:pt>
                <c:pt idx="194">
                  <c:v>5</c:v>
                </c:pt>
                <c:pt idx="195">
                  <c:v>3</c:v>
                </c:pt>
                <c:pt idx="196">
                  <c:v>6</c:v>
                </c:pt>
                <c:pt idx="197">
                  <c:v>2</c:v>
                </c:pt>
                <c:pt idx="198">
                  <c:v>6</c:v>
                </c:pt>
                <c:pt idx="199">
                  <c:v>3</c:v>
                </c:pt>
                <c:pt idx="200">
                  <c:v>1</c:v>
                </c:pt>
                <c:pt idx="201">
                  <c:v>15</c:v>
                </c:pt>
                <c:pt idx="202">
                  <c:v>19</c:v>
                </c:pt>
                <c:pt idx="203">
                  <c:v>13</c:v>
                </c:pt>
                <c:pt idx="204">
                  <c:v>11</c:v>
                </c:pt>
                <c:pt idx="205">
                  <c:v>11</c:v>
                </c:pt>
                <c:pt idx="206">
                  <c:v>4</c:v>
                </c:pt>
                <c:pt idx="207">
                  <c:v>1</c:v>
                </c:pt>
                <c:pt idx="208">
                  <c:v>0</c:v>
                </c:pt>
                <c:pt idx="209">
                  <c:v>2</c:v>
                </c:pt>
                <c:pt idx="210">
                  <c:v>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1</c:v>
                </c:pt>
                <c:pt idx="216">
                  <c:v>1</c:v>
                </c:pt>
                <c:pt idx="217">
                  <c:v>1</c:v>
                </c:pt>
                <c:pt idx="218">
                  <c:v>3</c:v>
                </c:pt>
                <c:pt idx="219">
                  <c:v>3</c:v>
                </c:pt>
                <c:pt idx="220">
                  <c:v>2</c:v>
                </c:pt>
                <c:pt idx="221">
                  <c:v>3</c:v>
                </c:pt>
                <c:pt idx="222">
                  <c:v>3</c:v>
                </c:pt>
                <c:pt idx="223">
                  <c:v>3</c:v>
                </c:pt>
                <c:pt idx="224">
                  <c:v>5</c:v>
                </c:pt>
                <c:pt idx="225">
                  <c:v>8</c:v>
                </c:pt>
                <c:pt idx="226">
                  <c:v>10</c:v>
                </c:pt>
                <c:pt idx="227">
                  <c:v>13</c:v>
                </c:pt>
                <c:pt idx="228">
                  <c:v>11</c:v>
                </c:pt>
                <c:pt idx="229">
                  <c:v>11</c:v>
                </c:pt>
                <c:pt idx="230">
                  <c:v>11</c:v>
                </c:pt>
                <c:pt idx="231">
                  <c:v>18</c:v>
                </c:pt>
                <c:pt idx="232">
                  <c:v>8</c:v>
                </c:pt>
                <c:pt idx="233">
                  <c:v>16</c:v>
                </c:pt>
                <c:pt idx="234">
                  <c:v>5</c:v>
                </c:pt>
                <c:pt idx="235">
                  <c:v>4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1</c:v>
                </c:pt>
                <c:pt idx="244">
                  <c:v>0</c:v>
                </c:pt>
                <c:pt idx="245">
                  <c:v>1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1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89-4425-AADF-C419A7E368AF}"/>
            </c:ext>
          </c:extLst>
        </c:ser>
        <c:ser>
          <c:idx val="1"/>
          <c:order val="1"/>
          <c:tx>
            <c:strRef>
              <c:f>'SRI 2016-2023'!$D$1</c:f>
              <c:strCache>
                <c:ptCount val="1"/>
                <c:pt idx="0">
                  <c:v>H3N2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D$2:$D$287</c:f>
              <c:numCache>
                <c:formatCode>General</c:formatCode>
                <c:ptCount val="2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0</c:v>
                </c:pt>
                <c:pt idx="61">
                  <c:v>1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1</c:v>
                </c:pt>
                <c:pt idx="66">
                  <c:v>0</c:v>
                </c:pt>
                <c:pt idx="67">
                  <c:v>0</c:v>
                </c:pt>
                <c:pt idx="68">
                  <c:v>2</c:v>
                </c:pt>
                <c:pt idx="69">
                  <c:v>5</c:v>
                </c:pt>
                <c:pt idx="70">
                  <c:v>9</c:v>
                </c:pt>
                <c:pt idx="71">
                  <c:v>11</c:v>
                </c:pt>
                <c:pt idx="72">
                  <c:v>12</c:v>
                </c:pt>
                <c:pt idx="73">
                  <c:v>17</c:v>
                </c:pt>
                <c:pt idx="74">
                  <c:v>25</c:v>
                </c:pt>
                <c:pt idx="75">
                  <c:v>32</c:v>
                </c:pt>
                <c:pt idx="76">
                  <c:v>16</c:v>
                </c:pt>
                <c:pt idx="77">
                  <c:v>5</c:v>
                </c:pt>
                <c:pt idx="78">
                  <c:v>8</c:v>
                </c:pt>
                <c:pt idx="79">
                  <c:v>0</c:v>
                </c:pt>
                <c:pt idx="80">
                  <c:v>3</c:v>
                </c:pt>
                <c:pt idx="81">
                  <c:v>9</c:v>
                </c:pt>
                <c:pt idx="82">
                  <c:v>9</c:v>
                </c:pt>
                <c:pt idx="83">
                  <c:v>9</c:v>
                </c:pt>
                <c:pt idx="84">
                  <c:v>9</c:v>
                </c:pt>
                <c:pt idx="85">
                  <c:v>3</c:v>
                </c:pt>
                <c:pt idx="86">
                  <c:v>4</c:v>
                </c:pt>
                <c:pt idx="87">
                  <c:v>0</c:v>
                </c:pt>
                <c:pt idx="88">
                  <c:v>2</c:v>
                </c:pt>
                <c:pt idx="89">
                  <c:v>1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1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1</c:v>
                </c:pt>
                <c:pt idx="189">
                  <c:v>0</c:v>
                </c:pt>
                <c:pt idx="190">
                  <c:v>2</c:v>
                </c:pt>
                <c:pt idx="191">
                  <c:v>0</c:v>
                </c:pt>
                <c:pt idx="192">
                  <c:v>0</c:v>
                </c:pt>
                <c:pt idx="193">
                  <c:v>4</c:v>
                </c:pt>
                <c:pt idx="194">
                  <c:v>1</c:v>
                </c:pt>
                <c:pt idx="195">
                  <c:v>3</c:v>
                </c:pt>
                <c:pt idx="196">
                  <c:v>2</c:v>
                </c:pt>
                <c:pt idx="197">
                  <c:v>1</c:v>
                </c:pt>
                <c:pt idx="198">
                  <c:v>2</c:v>
                </c:pt>
                <c:pt idx="199">
                  <c:v>2</c:v>
                </c:pt>
                <c:pt idx="200">
                  <c:v>3</c:v>
                </c:pt>
                <c:pt idx="201">
                  <c:v>4</c:v>
                </c:pt>
                <c:pt idx="202">
                  <c:v>3</c:v>
                </c:pt>
                <c:pt idx="203">
                  <c:v>3</c:v>
                </c:pt>
                <c:pt idx="204">
                  <c:v>0</c:v>
                </c:pt>
                <c:pt idx="205">
                  <c:v>1</c:v>
                </c:pt>
                <c:pt idx="206">
                  <c:v>2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2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2</c:v>
                </c:pt>
                <c:pt idx="229">
                  <c:v>2</c:v>
                </c:pt>
                <c:pt idx="230">
                  <c:v>7</c:v>
                </c:pt>
                <c:pt idx="231">
                  <c:v>5</c:v>
                </c:pt>
                <c:pt idx="232">
                  <c:v>13</c:v>
                </c:pt>
                <c:pt idx="233">
                  <c:v>7</c:v>
                </c:pt>
                <c:pt idx="234">
                  <c:v>8</c:v>
                </c:pt>
                <c:pt idx="235">
                  <c:v>11</c:v>
                </c:pt>
                <c:pt idx="236">
                  <c:v>2</c:v>
                </c:pt>
                <c:pt idx="237">
                  <c:v>3</c:v>
                </c:pt>
                <c:pt idx="238">
                  <c:v>3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3</c:v>
                </c:pt>
                <c:pt idx="243">
                  <c:v>1</c:v>
                </c:pt>
                <c:pt idx="244">
                  <c:v>4</c:v>
                </c:pt>
                <c:pt idx="245">
                  <c:v>5</c:v>
                </c:pt>
                <c:pt idx="246">
                  <c:v>8</c:v>
                </c:pt>
                <c:pt idx="247">
                  <c:v>10</c:v>
                </c:pt>
                <c:pt idx="248">
                  <c:v>6</c:v>
                </c:pt>
                <c:pt idx="249">
                  <c:v>13</c:v>
                </c:pt>
                <c:pt idx="250">
                  <c:v>3</c:v>
                </c:pt>
                <c:pt idx="251">
                  <c:v>4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1</c:v>
                </c:pt>
                <c:pt idx="256">
                  <c:v>2</c:v>
                </c:pt>
                <c:pt idx="257">
                  <c:v>1</c:v>
                </c:pt>
                <c:pt idx="258">
                  <c:v>1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1</c:v>
                </c:pt>
                <c:pt idx="273">
                  <c:v>2</c:v>
                </c:pt>
                <c:pt idx="274">
                  <c:v>3</c:v>
                </c:pt>
                <c:pt idx="275">
                  <c:v>10</c:v>
                </c:pt>
                <c:pt idx="276">
                  <c:v>13</c:v>
                </c:pt>
                <c:pt idx="277">
                  <c:v>10</c:v>
                </c:pt>
                <c:pt idx="278">
                  <c:v>21</c:v>
                </c:pt>
                <c:pt idx="279">
                  <c:v>35</c:v>
                </c:pt>
                <c:pt idx="280">
                  <c:v>45</c:v>
                </c:pt>
                <c:pt idx="281">
                  <c:v>54</c:v>
                </c:pt>
                <c:pt idx="282">
                  <c:v>25</c:v>
                </c:pt>
                <c:pt idx="283">
                  <c:v>29</c:v>
                </c:pt>
                <c:pt idx="284">
                  <c:v>19</c:v>
                </c:pt>
                <c:pt idx="28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89-4425-AADF-C419A7E368AF}"/>
            </c:ext>
          </c:extLst>
        </c:ser>
        <c:ser>
          <c:idx val="2"/>
          <c:order val="2"/>
          <c:tx>
            <c:strRef>
              <c:f>'SRI 2016-2023'!$E$1</c:f>
              <c:strCache>
                <c:ptCount val="1"/>
                <c:pt idx="0">
                  <c:v>A subtype inconclusive"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E$2:$E$287</c:f>
              <c:numCache>
                <c:formatCode>General</c:formatCode>
                <c:ptCount val="2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2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3</c:v>
                </c:pt>
                <c:pt idx="75">
                  <c:v>0</c:v>
                </c:pt>
                <c:pt idx="76">
                  <c:v>1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1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1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1</c:v>
                </c:pt>
                <c:pt idx="194">
                  <c:v>0</c:v>
                </c:pt>
                <c:pt idx="195">
                  <c:v>0</c:v>
                </c:pt>
                <c:pt idx="196">
                  <c:v>1</c:v>
                </c:pt>
                <c:pt idx="197">
                  <c:v>0</c:v>
                </c:pt>
                <c:pt idx="198">
                  <c:v>1</c:v>
                </c:pt>
                <c:pt idx="199">
                  <c:v>1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</c:v>
                </c:pt>
                <c:pt idx="204">
                  <c:v>1</c:v>
                </c:pt>
                <c:pt idx="205">
                  <c:v>1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1</c:v>
                </c:pt>
                <c:pt idx="232">
                  <c:v>0</c:v>
                </c:pt>
                <c:pt idx="233">
                  <c:v>2</c:v>
                </c:pt>
                <c:pt idx="234">
                  <c:v>1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2</c:v>
                </c:pt>
                <c:pt idx="278">
                  <c:v>0</c:v>
                </c:pt>
                <c:pt idx="279">
                  <c:v>0</c:v>
                </c:pt>
                <c:pt idx="280">
                  <c:v>3</c:v>
                </c:pt>
                <c:pt idx="281">
                  <c:v>2</c:v>
                </c:pt>
                <c:pt idx="282">
                  <c:v>2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89-4425-AADF-C419A7E368AF}"/>
            </c:ext>
          </c:extLst>
        </c:ser>
        <c:ser>
          <c:idx val="8"/>
          <c:order val="3"/>
          <c:tx>
            <c:strRef>
              <c:f>'SRI 2016-2023'!$F$1</c:f>
              <c:strCache>
                <c:ptCount val="1"/>
                <c:pt idx="0">
                  <c:v>A subtype results pending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F$2:$F$287</c:f>
              <c:numCache>
                <c:formatCode>General</c:formatCode>
                <c:ptCount val="286"/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4</c:v>
                </c:pt>
                <c:pt idx="282">
                  <c:v>20</c:v>
                </c:pt>
                <c:pt idx="283">
                  <c:v>3</c:v>
                </c:pt>
                <c:pt idx="284">
                  <c:v>0</c:v>
                </c:pt>
                <c:pt idx="28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89-4425-AADF-C419A7E368AF}"/>
            </c:ext>
          </c:extLst>
        </c:ser>
        <c:ser>
          <c:idx val="3"/>
          <c:order val="4"/>
          <c:tx>
            <c:strRef>
              <c:f>'SRI 2016-2023'!$G$1</c:f>
              <c:strCache>
                <c:ptCount val="1"/>
                <c:pt idx="0">
                  <c:v>B Victoria</c:v>
                </c:pt>
              </c:strCache>
            </c:strRef>
          </c:tx>
          <c:spPr>
            <a:solidFill>
              <a:srgbClr val="008000"/>
            </a:solidFill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G$2:$G$287</c:f>
              <c:numCache>
                <c:formatCode>General</c:formatCode>
                <c:ptCount val="2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4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6</c:v>
                </c:pt>
                <c:pt idx="31">
                  <c:v>4</c:v>
                </c:pt>
                <c:pt idx="32">
                  <c:v>12</c:v>
                </c:pt>
                <c:pt idx="33">
                  <c:v>5</c:v>
                </c:pt>
                <c:pt idx="34">
                  <c:v>9</c:v>
                </c:pt>
                <c:pt idx="35">
                  <c:v>12</c:v>
                </c:pt>
                <c:pt idx="36">
                  <c:v>10</c:v>
                </c:pt>
                <c:pt idx="37">
                  <c:v>9</c:v>
                </c:pt>
                <c:pt idx="38">
                  <c:v>3</c:v>
                </c:pt>
                <c:pt idx="39">
                  <c:v>6</c:v>
                </c:pt>
                <c:pt idx="40">
                  <c:v>9</c:v>
                </c:pt>
                <c:pt idx="41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0</c:v>
                </c:pt>
                <c:pt idx="46">
                  <c:v>2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1</c:v>
                </c:pt>
                <c:pt idx="111">
                  <c:v>0</c:v>
                </c:pt>
                <c:pt idx="112">
                  <c:v>1</c:v>
                </c:pt>
                <c:pt idx="113">
                  <c:v>1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1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1</c:v>
                </c:pt>
                <c:pt idx="173">
                  <c:v>0</c:v>
                </c:pt>
                <c:pt idx="174">
                  <c:v>1</c:v>
                </c:pt>
                <c:pt idx="175">
                  <c:v>2</c:v>
                </c:pt>
                <c:pt idx="176">
                  <c:v>1</c:v>
                </c:pt>
                <c:pt idx="177">
                  <c:v>2</c:v>
                </c:pt>
                <c:pt idx="178">
                  <c:v>1</c:v>
                </c:pt>
                <c:pt idx="179">
                  <c:v>4</c:v>
                </c:pt>
                <c:pt idx="180">
                  <c:v>4</c:v>
                </c:pt>
                <c:pt idx="181">
                  <c:v>6</c:v>
                </c:pt>
                <c:pt idx="182">
                  <c:v>1</c:v>
                </c:pt>
                <c:pt idx="183">
                  <c:v>2</c:v>
                </c:pt>
                <c:pt idx="184">
                  <c:v>1</c:v>
                </c:pt>
                <c:pt idx="185">
                  <c:v>3</c:v>
                </c:pt>
                <c:pt idx="186">
                  <c:v>1</c:v>
                </c:pt>
                <c:pt idx="187">
                  <c:v>1</c:v>
                </c:pt>
                <c:pt idx="188">
                  <c:v>3</c:v>
                </c:pt>
                <c:pt idx="189">
                  <c:v>1</c:v>
                </c:pt>
                <c:pt idx="190">
                  <c:v>3</c:v>
                </c:pt>
                <c:pt idx="191">
                  <c:v>4</c:v>
                </c:pt>
                <c:pt idx="192">
                  <c:v>1</c:v>
                </c:pt>
                <c:pt idx="193">
                  <c:v>1</c:v>
                </c:pt>
                <c:pt idx="194">
                  <c:v>1</c:v>
                </c:pt>
                <c:pt idx="195">
                  <c:v>1</c:v>
                </c:pt>
                <c:pt idx="196">
                  <c:v>0</c:v>
                </c:pt>
                <c:pt idx="197">
                  <c:v>0</c:v>
                </c:pt>
                <c:pt idx="198">
                  <c:v>1</c:v>
                </c:pt>
                <c:pt idx="199">
                  <c:v>0</c:v>
                </c:pt>
                <c:pt idx="200">
                  <c:v>2</c:v>
                </c:pt>
                <c:pt idx="201">
                  <c:v>0</c:v>
                </c:pt>
                <c:pt idx="202">
                  <c:v>1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1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1</c:v>
                </c:pt>
                <c:pt idx="233">
                  <c:v>2</c:v>
                </c:pt>
                <c:pt idx="234">
                  <c:v>2</c:v>
                </c:pt>
                <c:pt idx="235">
                  <c:v>6</c:v>
                </c:pt>
                <c:pt idx="236">
                  <c:v>2</c:v>
                </c:pt>
                <c:pt idx="237">
                  <c:v>3</c:v>
                </c:pt>
                <c:pt idx="238">
                  <c:v>0</c:v>
                </c:pt>
                <c:pt idx="239">
                  <c:v>0</c:v>
                </c:pt>
                <c:pt idx="240">
                  <c:v>1</c:v>
                </c:pt>
                <c:pt idx="241">
                  <c:v>5</c:v>
                </c:pt>
                <c:pt idx="242">
                  <c:v>10</c:v>
                </c:pt>
                <c:pt idx="243">
                  <c:v>4</c:v>
                </c:pt>
                <c:pt idx="244">
                  <c:v>10</c:v>
                </c:pt>
                <c:pt idx="245">
                  <c:v>11</c:v>
                </c:pt>
                <c:pt idx="246">
                  <c:v>12</c:v>
                </c:pt>
                <c:pt idx="247">
                  <c:v>12</c:v>
                </c:pt>
                <c:pt idx="248">
                  <c:v>8</c:v>
                </c:pt>
                <c:pt idx="249">
                  <c:v>3</c:v>
                </c:pt>
                <c:pt idx="250">
                  <c:v>2</c:v>
                </c:pt>
                <c:pt idx="251">
                  <c:v>3</c:v>
                </c:pt>
                <c:pt idx="252">
                  <c:v>2</c:v>
                </c:pt>
                <c:pt idx="253">
                  <c:v>1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2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89-4425-AADF-C419A7E368AF}"/>
            </c:ext>
          </c:extLst>
        </c:ser>
        <c:ser>
          <c:idx val="4"/>
          <c:order val="5"/>
          <c:tx>
            <c:strRef>
              <c:f>'SRI 2016-2023'!$H$1</c:f>
              <c:strCache>
                <c:ptCount val="1"/>
                <c:pt idx="0">
                  <c:v>B Yamagata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H$2:$H$287</c:f>
              <c:numCache>
                <c:formatCode>General</c:formatCode>
                <c:ptCount val="2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3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1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F89-4425-AADF-C419A7E368AF}"/>
            </c:ext>
          </c:extLst>
        </c:ser>
        <c:ser>
          <c:idx val="5"/>
          <c:order val="6"/>
          <c:tx>
            <c:strRef>
              <c:f>'SRI 2016-2023'!$I$1</c:f>
              <c:strCache>
                <c:ptCount val="1"/>
                <c:pt idx="0">
                  <c:v>B lineage inconclusiv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I$2:$I$287</c:f>
              <c:numCache>
                <c:formatCode>General</c:formatCode>
                <c:ptCount val="2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3</c:v>
                </c:pt>
                <c:pt idx="195">
                  <c:v>0</c:v>
                </c:pt>
                <c:pt idx="196">
                  <c:v>0</c:v>
                </c:pt>
                <c:pt idx="197">
                  <c:v>1</c:v>
                </c:pt>
                <c:pt idx="198">
                  <c:v>2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3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1</c:v>
                </c:pt>
                <c:pt idx="241">
                  <c:v>2</c:v>
                </c:pt>
                <c:pt idx="242">
                  <c:v>0</c:v>
                </c:pt>
                <c:pt idx="243">
                  <c:v>0</c:v>
                </c:pt>
                <c:pt idx="244">
                  <c:v>1</c:v>
                </c:pt>
                <c:pt idx="245">
                  <c:v>0</c:v>
                </c:pt>
                <c:pt idx="246">
                  <c:v>0</c:v>
                </c:pt>
                <c:pt idx="247">
                  <c:v>2</c:v>
                </c:pt>
                <c:pt idx="248">
                  <c:v>0</c:v>
                </c:pt>
                <c:pt idx="249">
                  <c:v>3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F89-4425-AADF-C419A7E368AF}"/>
            </c:ext>
          </c:extLst>
        </c:ser>
        <c:ser>
          <c:idx val="6"/>
          <c:order val="7"/>
          <c:tx>
            <c:strRef>
              <c:f>'SRI 2016-2023'!$J$1</c:f>
              <c:strCache>
                <c:ptCount val="1"/>
                <c:pt idx="0">
                  <c:v>B lineage results pending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invertIfNegative val="0"/>
          <c:cat>
            <c:multiLvlStrRef>
              <c:f>'SRI 2016-2023'!$A$2:$B$287</c:f>
              <c:multiLvlStrCache>
                <c:ptCount val="28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32</c:v>
                  </c:pt>
                  <c:pt idx="32">
                    <c:v>33</c:v>
                  </c:pt>
                  <c:pt idx="33">
                    <c:v>34</c:v>
                  </c:pt>
                  <c:pt idx="34">
                    <c:v>35</c:v>
                  </c:pt>
                  <c:pt idx="35">
                    <c:v>36</c:v>
                  </c:pt>
                  <c:pt idx="36">
                    <c:v>37</c:v>
                  </c:pt>
                  <c:pt idx="37">
                    <c:v>38</c:v>
                  </c:pt>
                  <c:pt idx="38">
                    <c:v>39</c:v>
                  </c:pt>
                  <c:pt idx="39">
                    <c:v>40</c:v>
                  </c:pt>
                  <c:pt idx="40">
                    <c:v>41</c:v>
                  </c:pt>
                  <c:pt idx="41">
                    <c:v>42</c:v>
                  </c:pt>
                  <c:pt idx="42">
                    <c:v>43</c:v>
                  </c:pt>
                  <c:pt idx="43">
                    <c:v>44</c:v>
                  </c:pt>
                  <c:pt idx="44">
                    <c:v>45</c:v>
                  </c:pt>
                  <c:pt idx="45">
                    <c:v>46</c:v>
                  </c:pt>
                  <c:pt idx="46">
                    <c:v>47</c:v>
                  </c:pt>
                  <c:pt idx="47">
                    <c:v>48</c:v>
                  </c:pt>
                  <c:pt idx="48">
                    <c:v>49</c:v>
                  </c:pt>
                  <c:pt idx="49">
                    <c:v>50</c:v>
                  </c:pt>
                  <c:pt idx="50">
                    <c:v>51</c:v>
                  </c:pt>
                  <c:pt idx="51">
                    <c:v>52</c:v>
                  </c:pt>
                  <c:pt idx="52">
                    <c:v>1</c:v>
                  </c:pt>
                  <c:pt idx="53">
                    <c:v>2</c:v>
                  </c:pt>
                  <c:pt idx="54">
                    <c:v>3</c:v>
                  </c:pt>
                  <c:pt idx="55">
                    <c:v>4</c:v>
                  </c:pt>
                  <c:pt idx="56">
                    <c:v>5</c:v>
                  </c:pt>
                  <c:pt idx="57">
                    <c:v>6</c:v>
                  </c:pt>
                  <c:pt idx="58">
                    <c:v>7</c:v>
                  </c:pt>
                  <c:pt idx="59">
                    <c:v>8</c:v>
                  </c:pt>
                  <c:pt idx="60">
                    <c:v>9</c:v>
                  </c:pt>
                  <c:pt idx="61">
                    <c:v>10</c:v>
                  </c:pt>
                  <c:pt idx="62">
                    <c:v>11</c:v>
                  </c:pt>
                  <c:pt idx="63">
                    <c:v>12</c:v>
                  </c:pt>
                  <c:pt idx="64">
                    <c:v>13</c:v>
                  </c:pt>
                  <c:pt idx="65">
                    <c:v>14</c:v>
                  </c:pt>
                  <c:pt idx="66">
                    <c:v>15</c:v>
                  </c:pt>
                  <c:pt idx="67">
                    <c:v>16</c:v>
                  </c:pt>
                  <c:pt idx="68">
                    <c:v>17</c:v>
                  </c:pt>
                  <c:pt idx="69">
                    <c:v>18</c:v>
                  </c:pt>
                  <c:pt idx="70">
                    <c:v>19</c:v>
                  </c:pt>
                  <c:pt idx="71">
                    <c:v>20</c:v>
                  </c:pt>
                  <c:pt idx="72">
                    <c:v>21</c:v>
                  </c:pt>
                  <c:pt idx="73">
                    <c:v>22</c:v>
                  </c:pt>
                  <c:pt idx="74">
                    <c:v>23</c:v>
                  </c:pt>
                  <c:pt idx="75">
                    <c:v>24</c:v>
                  </c:pt>
                  <c:pt idx="76">
                    <c:v>25</c:v>
                  </c:pt>
                  <c:pt idx="77">
                    <c:v>26</c:v>
                  </c:pt>
                  <c:pt idx="78">
                    <c:v>27</c:v>
                  </c:pt>
                  <c:pt idx="79">
                    <c:v>28</c:v>
                  </c:pt>
                  <c:pt idx="80">
                    <c:v>29</c:v>
                  </c:pt>
                  <c:pt idx="81">
                    <c:v>30</c:v>
                  </c:pt>
                  <c:pt idx="82">
                    <c:v>31</c:v>
                  </c:pt>
                  <c:pt idx="83">
                    <c:v>32</c:v>
                  </c:pt>
                  <c:pt idx="84">
                    <c:v>33</c:v>
                  </c:pt>
                  <c:pt idx="85">
                    <c:v>34</c:v>
                  </c:pt>
                  <c:pt idx="86">
                    <c:v>35</c:v>
                  </c:pt>
                  <c:pt idx="87">
                    <c:v>36</c:v>
                  </c:pt>
                  <c:pt idx="88">
                    <c:v>37</c:v>
                  </c:pt>
                  <c:pt idx="89">
                    <c:v>38</c:v>
                  </c:pt>
                  <c:pt idx="90">
                    <c:v>39</c:v>
                  </c:pt>
                  <c:pt idx="91">
                    <c:v>40</c:v>
                  </c:pt>
                  <c:pt idx="92">
                    <c:v>41</c:v>
                  </c:pt>
                  <c:pt idx="93">
                    <c:v>42</c:v>
                  </c:pt>
                  <c:pt idx="94">
                    <c:v>43</c:v>
                  </c:pt>
                  <c:pt idx="95">
                    <c:v>44</c:v>
                  </c:pt>
                  <c:pt idx="96">
                    <c:v>45</c:v>
                  </c:pt>
                  <c:pt idx="97">
                    <c:v>46</c:v>
                  </c:pt>
                  <c:pt idx="98">
                    <c:v>47</c:v>
                  </c:pt>
                  <c:pt idx="99">
                    <c:v>48</c:v>
                  </c:pt>
                  <c:pt idx="100">
                    <c:v>49</c:v>
                  </c:pt>
                  <c:pt idx="101">
                    <c:v>50</c:v>
                  </c:pt>
                  <c:pt idx="102">
                    <c:v>51</c:v>
                  </c:pt>
                  <c:pt idx="103">
                    <c:v>52</c:v>
                  </c:pt>
                  <c:pt idx="104">
                    <c:v>1</c:v>
                  </c:pt>
                  <c:pt idx="105">
                    <c:v>2</c:v>
                  </c:pt>
                  <c:pt idx="106">
                    <c:v>3</c:v>
                  </c:pt>
                  <c:pt idx="107">
                    <c:v>4</c:v>
                  </c:pt>
                  <c:pt idx="108">
                    <c:v>5</c:v>
                  </c:pt>
                  <c:pt idx="109">
                    <c:v>6</c:v>
                  </c:pt>
                  <c:pt idx="110">
                    <c:v>7</c:v>
                  </c:pt>
                  <c:pt idx="111">
                    <c:v>8</c:v>
                  </c:pt>
                  <c:pt idx="112">
                    <c:v>9</c:v>
                  </c:pt>
                  <c:pt idx="113">
                    <c:v>10</c:v>
                  </c:pt>
                  <c:pt idx="114">
                    <c:v>11</c:v>
                  </c:pt>
                  <c:pt idx="115">
                    <c:v>12</c:v>
                  </c:pt>
                  <c:pt idx="116">
                    <c:v>13</c:v>
                  </c:pt>
                  <c:pt idx="117">
                    <c:v>14</c:v>
                  </c:pt>
                  <c:pt idx="118">
                    <c:v>15</c:v>
                  </c:pt>
                  <c:pt idx="119">
                    <c:v>16</c:v>
                  </c:pt>
                  <c:pt idx="120">
                    <c:v>17</c:v>
                  </c:pt>
                  <c:pt idx="121">
                    <c:v>18</c:v>
                  </c:pt>
                  <c:pt idx="122">
                    <c:v>19</c:v>
                  </c:pt>
                  <c:pt idx="123">
                    <c:v>20</c:v>
                  </c:pt>
                  <c:pt idx="124">
                    <c:v>21</c:v>
                  </c:pt>
                  <c:pt idx="125">
                    <c:v>22</c:v>
                  </c:pt>
                  <c:pt idx="126">
                    <c:v>23</c:v>
                  </c:pt>
                  <c:pt idx="127">
                    <c:v>24</c:v>
                  </c:pt>
                  <c:pt idx="128">
                    <c:v>25</c:v>
                  </c:pt>
                  <c:pt idx="129">
                    <c:v>26</c:v>
                  </c:pt>
                  <c:pt idx="130">
                    <c:v>27</c:v>
                  </c:pt>
                  <c:pt idx="131">
                    <c:v>28</c:v>
                  </c:pt>
                  <c:pt idx="132">
                    <c:v>29</c:v>
                  </c:pt>
                  <c:pt idx="133">
                    <c:v>30</c:v>
                  </c:pt>
                  <c:pt idx="134">
                    <c:v>31</c:v>
                  </c:pt>
                  <c:pt idx="135">
                    <c:v>32</c:v>
                  </c:pt>
                  <c:pt idx="136">
                    <c:v>33</c:v>
                  </c:pt>
                  <c:pt idx="137">
                    <c:v>34</c:v>
                  </c:pt>
                  <c:pt idx="138">
                    <c:v>35</c:v>
                  </c:pt>
                  <c:pt idx="139">
                    <c:v>36</c:v>
                  </c:pt>
                  <c:pt idx="140">
                    <c:v>37</c:v>
                  </c:pt>
                  <c:pt idx="141">
                    <c:v>38</c:v>
                  </c:pt>
                  <c:pt idx="142">
                    <c:v>39</c:v>
                  </c:pt>
                  <c:pt idx="143">
                    <c:v>40</c:v>
                  </c:pt>
                  <c:pt idx="144">
                    <c:v>41</c:v>
                  </c:pt>
                  <c:pt idx="145">
                    <c:v>42</c:v>
                  </c:pt>
                  <c:pt idx="146">
                    <c:v>43</c:v>
                  </c:pt>
                  <c:pt idx="147">
                    <c:v>44</c:v>
                  </c:pt>
                  <c:pt idx="148">
                    <c:v>45</c:v>
                  </c:pt>
                  <c:pt idx="149">
                    <c:v>46</c:v>
                  </c:pt>
                  <c:pt idx="150">
                    <c:v>47</c:v>
                  </c:pt>
                  <c:pt idx="151">
                    <c:v>48</c:v>
                  </c:pt>
                  <c:pt idx="152">
                    <c:v>49</c:v>
                  </c:pt>
                  <c:pt idx="153">
                    <c:v>50</c:v>
                  </c:pt>
                  <c:pt idx="154">
                    <c:v>51</c:v>
                  </c:pt>
                  <c:pt idx="155">
                    <c:v>52</c:v>
                  </c:pt>
                  <c:pt idx="156">
                    <c:v>53</c:v>
                  </c:pt>
                  <c:pt idx="157">
                    <c:v>1</c:v>
                  </c:pt>
                  <c:pt idx="158">
                    <c:v>2</c:v>
                  </c:pt>
                  <c:pt idx="159">
                    <c:v>3</c:v>
                  </c:pt>
                  <c:pt idx="160">
                    <c:v>4</c:v>
                  </c:pt>
                  <c:pt idx="161">
                    <c:v>5</c:v>
                  </c:pt>
                  <c:pt idx="162">
                    <c:v>6</c:v>
                  </c:pt>
                  <c:pt idx="163">
                    <c:v>7</c:v>
                  </c:pt>
                  <c:pt idx="164">
                    <c:v>8</c:v>
                  </c:pt>
                  <c:pt idx="165">
                    <c:v>9</c:v>
                  </c:pt>
                  <c:pt idx="166">
                    <c:v>10</c:v>
                  </c:pt>
                  <c:pt idx="167">
                    <c:v>11</c:v>
                  </c:pt>
                  <c:pt idx="168">
                    <c:v>12</c:v>
                  </c:pt>
                  <c:pt idx="169">
                    <c:v>13</c:v>
                  </c:pt>
                  <c:pt idx="170">
                    <c:v>14</c:v>
                  </c:pt>
                  <c:pt idx="171">
                    <c:v>15</c:v>
                  </c:pt>
                  <c:pt idx="172">
                    <c:v>16</c:v>
                  </c:pt>
                  <c:pt idx="173">
                    <c:v>17</c:v>
                  </c:pt>
                  <c:pt idx="174">
                    <c:v>18</c:v>
                  </c:pt>
                  <c:pt idx="175">
                    <c:v>19</c:v>
                  </c:pt>
                  <c:pt idx="176">
                    <c:v>20</c:v>
                  </c:pt>
                  <c:pt idx="177">
                    <c:v>21</c:v>
                  </c:pt>
                  <c:pt idx="178">
                    <c:v>22</c:v>
                  </c:pt>
                  <c:pt idx="179">
                    <c:v>23</c:v>
                  </c:pt>
                  <c:pt idx="180">
                    <c:v>24</c:v>
                  </c:pt>
                  <c:pt idx="181">
                    <c:v>25</c:v>
                  </c:pt>
                  <c:pt idx="182">
                    <c:v>26</c:v>
                  </c:pt>
                  <c:pt idx="183">
                    <c:v>27</c:v>
                  </c:pt>
                  <c:pt idx="184">
                    <c:v>28</c:v>
                  </c:pt>
                  <c:pt idx="185">
                    <c:v>29</c:v>
                  </c:pt>
                  <c:pt idx="186">
                    <c:v>30</c:v>
                  </c:pt>
                  <c:pt idx="187">
                    <c:v>31</c:v>
                  </c:pt>
                  <c:pt idx="188">
                    <c:v>32</c:v>
                  </c:pt>
                  <c:pt idx="189">
                    <c:v>33</c:v>
                  </c:pt>
                  <c:pt idx="190">
                    <c:v>34</c:v>
                  </c:pt>
                  <c:pt idx="191">
                    <c:v>35</c:v>
                  </c:pt>
                  <c:pt idx="192">
                    <c:v>36</c:v>
                  </c:pt>
                  <c:pt idx="193">
                    <c:v>37</c:v>
                  </c:pt>
                  <c:pt idx="194">
                    <c:v>38</c:v>
                  </c:pt>
                  <c:pt idx="195">
                    <c:v>39</c:v>
                  </c:pt>
                  <c:pt idx="196">
                    <c:v>40</c:v>
                  </c:pt>
                  <c:pt idx="197">
                    <c:v>41</c:v>
                  </c:pt>
                  <c:pt idx="198">
                    <c:v>42</c:v>
                  </c:pt>
                  <c:pt idx="199">
                    <c:v>43</c:v>
                  </c:pt>
                  <c:pt idx="200">
                    <c:v>44</c:v>
                  </c:pt>
                  <c:pt idx="201">
                    <c:v>45</c:v>
                  </c:pt>
                  <c:pt idx="202">
                    <c:v>46</c:v>
                  </c:pt>
                  <c:pt idx="203">
                    <c:v>47</c:v>
                  </c:pt>
                  <c:pt idx="204">
                    <c:v>48</c:v>
                  </c:pt>
                  <c:pt idx="205">
                    <c:v>49</c:v>
                  </c:pt>
                  <c:pt idx="206">
                    <c:v>50</c:v>
                  </c:pt>
                  <c:pt idx="207">
                    <c:v>51</c:v>
                  </c:pt>
                  <c:pt idx="208">
                    <c:v>52</c:v>
                  </c:pt>
                  <c:pt idx="209">
                    <c:v>1</c:v>
                  </c:pt>
                  <c:pt idx="210">
                    <c:v>2</c:v>
                  </c:pt>
                  <c:pt idx="211">
                    <c:v>3</c:v>
                  </c:pt>
                  <c:pt idx="212">
                    <c:v>4</c:v>
                  </c:pt>
                  <c:pt idx="213">
                    <c:v>5</c:v>
                  </c:pt>
                  <c:pt idx="214">
                    <c:v>6</c:v>
                  </c:pt>
                  <c:pt idx="215">
                    <c:v>7</c:v>
                  </c:pt>
                  <c:pt idx="216">
                    <c:v>8</c:v>
                  </c:pt>
                  <c:pt idx="217">
                    <c:v>9</c:v>
                  </c:pt>
                  <c:pt idx="218">
                    <c:v>10</c:v>
                  </c:pt>
                  <c:pt idx="219">
                    <c:v>11</c:v>
                  </c:pt>
                  <c:pt idx="220">
                    <c:v>12</c:v>
                  </c:pt>
                  <c:pt idx="221">
                    <c:v>13</c:v>
                  </c:pt>
                  <c:pt idx="222">
                    <c:v>14</c:v>
                  </c:pt>
                  <c:pt idx="223">
                    <c:v>15</c:v>
                  </c:pt>
                  <c:pt idx="224">
                    <c:v>16</c:v>
                  </c:pt>
                  <c:pt idx="225">
                    <c:v>17</c:v>
                  </c:pt>
                  <c:pt idx="226">
                    <c:v>18</c:v>
                  </c:pt>
                  <c:pt idx="227">
                    <c:v>19</c:v>
                  </c:pt>
                  <c:pt idx="228">
                    <c:v>20</c:v>
                  </c:pt>
                  <c:pt idx="229">
                    <c:v>21</c:v>
                  </c:pt>
                  <c:pt idx="230">
                    <c:v>22</c:v>
                  </c:pt>
                  <c:pt idx="231">
                    <c:v>23</c:v>
                  </c:pt>
                  <c:pt idx="232">
                    <c:v>24</c:v>
                  </c:pt>
                  <c:pt idx="233">
                    <c:v>25</c:v>
                  </c:pt>
                  <c:pt idx="234">
                    <c:v>26</c:v>
                  </c:pt>
                  <c:pt idx="235">
                    <c:v>27</c:v>
                  </c:pt>
                  <c:pt idx="236">
                    <c:v>28</c:v>
                  </c:pt>
                  <c:pt idx="237">
                    <c:v>29</c:v>
                  </c:pt>
                  <c:pt idx="238">
                    <c:v>30</c:v>
                  </c:pt>
                  <c:pt idx="239">
                    <c:v>31</c:v>
                  </c:pt>
                  <c:pt idx="240">
                    <c:v>32</c:v>
                  </c:pt>
                  <c:pt idx="241">
                    <c:v>33</c:v>
                  </c:pt>
                  <c:pt idx="242">
                    <c:v>34</c:v>
                  </c:pt>
                  <c:pt idx="243">
                    <c:v>35</c:v>
                  </c:pt>
                  <c:pt idx="244">
                    <c:v>36</c:v>
                  </c:pt>
                  <c:pt idx="245">
                    <c:v>37</c:v>
                  </c:pt>
                  <c:pt idx="246">
                    <c:v>38</c:v>
                  </c:pt>
                  <c:pt idx="247">
                    <c:v>39</c:v>
                  </c:pt>
                  <c:pt idx="248">
                    <c:v>40</c:v>
                  </c:pt>
                  <c:pt idx="249">
                    <c:v>41</c:v>
                  </c:pt>
                  <c:pt idx="250">
                    <c:v>42</c:v>
                  </c:pt>
                  <c:pt idx="251">
                    <c:v>43</c:v>
                  </c:pt>
                  <c:pt idx="252">
                    <c:v>44</c:v>
                  </c:pt>
                  <c:pt idx="253">
                    <c:v>45</c:v>
                  </c:pt>
                  <c:pt idx="254">
                    <c:v>46</c:v>
                  </c:pt>
                  <c:pt idx="255">
                    <c:v>47</c:v>
                  </c:pt>
                  <c:pt idx="256">
                    <c:v>48</c:v>
                  </c:pt>
                  <c:pt idx="257">
                    <c:v>49</c:v>
                  </c:pt>
                  <c:pt idx="258">
                    <c:v>50</c:v>
                  </c:pt>
                  <c:pt idx="259">
                    <c:v>51</c:v>
                  </c:pt>
                  <c:pt idx="260">
                    <c:v>52</c:v>
                  </c:pt>
                  <c:pt idx="261">
                    <c:v>1</c:v>
                  </c:pt>
                  <c:pt idx="262">
                    <c:v>2</c:v>
                  </c:pt>
                  <c:pt idx="263">
                    <c:v>3</c:v>
                  </c:pt>
                  <c:pt idx="264">
                    <c:v>4</c:v>
                  </c:pt>
                  <c:pt idx="265">
                    <c:v>5</c:v>
                  </c:pt>
                  <c:pt idx="266">
                    <c:v>6</c:v>
                  </c:pt>
                  <c:pt idx="267">
                    <c:v>7</c:v>
                  </c:pt>
                  <c:pt idx="268">
                    <c:v>8</c:v>
                  </c:pt>
                  <c:pt idx="269">
                    <c:v>9</c:v>
                  </c:pt>
                  <c:pt idx="270">
                    <c:v>10</c:v>
                  </c:pt>
                  <c:pt idx="271">
                    <c:v>11</c:v>
                  </c:pt>
                  <c:pt idx="272">
                    <c:v>12</c:v>
                  </c:pt>
                  <c:pt idx="273">
                    <c:v>13</c:v>
                  </c:pt>
                  <c:pt idx="274">
                    <c:v>14</c:v>
                  </c:pt>
                  <c:pt idx="275">
                    <c:v>15</c:v>
                  </c:pt>
                  <c:pt idx="276">
                    <c:v>16</c:v>
                  </c:pt>
                  <c:pt idx="277">
                    <c:v>17</c:v>
                  </c:pt>
                  <c:pt idx="278">
                    <c:v>18</c:v>
                  </c:pt>
                  <c:pt idx="279">
                    <c:v>19</c:v>
                  </c:pt>
                  <c:pt idx="280">
                    <c:v>20</c:v>
                  </c:pt>
                  <c:pt idx="281">
                    <c:v>21</c:v>
                  </c:pt>
                  <c:pt idx="282">
                    <c:v>22</c:v>
                  </c:pt>
                  <c:pt idx="283">
                    <c:v>23</c:v>
                  </c:pt>
                  <c:pt idx="284">
                    <c:v>24</c:v>
                  </c:pt>
                  <c:pt idx="285">
                    <c:v>25</c:v>
                  </c:pt>
                </c:lvl>
                <c:lvl>
                  <c:pt idx="0">
                    <c:v>2018</c:v>
                  </c:pt>
                  <c:pt idx="52">
                    <c:v>2019</c:v>
                  </c:pt>
                  <c:pt idx="104">
                    <c:v>2020</c:v>
                  </c:pt>
                  <c:pt idx="157">
                    <c:v>2021</c:v>
                  </c:pt>
                  <c:pt idx="209">
                    <c:v>2022</c:v>
                  </c:pt>
                  <c:pt idx="261">
                    <c:v>2023</c:v>
                  </c:pt>
                </c:lvl>
              </c:multiLvlStrCache>
            </c:multiLvlStrRef>
          </c:cat>
          <c:val>
            <c:numRef>
              <c:f>'SRI 2016-2023'!$J$2:$J$287</c:f>
              <c:numCache>
                <c:formatCode>General</c:formatCode>
                <c:ptCount val="286"/>
              </c:numCache>
            </c:numRef>
          </c:val>
          <c:extLst>
            <c:ext xmlns:c16="http://schemas.microsoft.com/office/drawing/2014/chart" uri="{C3380CC4-5D6E-409C-BE32-E72D297353CC}">
              <c16:uniqueId val="{00000007-5F89-4425-AADF-C419A7E368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9307008"/>
        <c:axId val="69321472"/>
        <c:extLst/>
      </c:barChart>
      <c:lineChart>
        <c:grouping val="standard"/>
        <c:varyColors val="0"/>
        <c:ser>
          <c:idx val="7"/>
          <c:order val="9"/>
          <c:tx>
            <c:strRef>
              <c:f>'SRI 2016-2023'!$M$1</c:f>
              <c:strCache>
                <c:ptCount val="1"/>
                <c:pt idx="0">
                  <c:v>3 weeks-moving average</c:v>
                </c:pt>
              </c:strCache>
            </c:strRef>
          </c:tx>
          <c:spPr>
            <a:ln w="0" cap="rnd">
              <a:solidFill>
                <a:schemeClr val="tx1">
                  <a:alpha val="99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'SRI 2016-2023'!$M$2:$M$287</c:f>
              <c:numCache>
                <c:formatCode>0.0</c:formatCode>
                <c:ptCount val="2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.91743119266055062</c:v>
                </c:pt>
                <c:pt idx="14">
                  <c:v>0.91743119266055062</c:v>
                </c:pt>
                <c:pt idx="15">
                  <c:v>1.6118756371049949</c:v>
                </c:pt>
                <c:pt idx="16">
                  <c:v>1.9065656565656564</c:v>
                </c:pt>
                <c:pt idx="17">
                  <c:v>2.2769360269360264</c:v>
                </c:pt>
                <c:pt idx="18">
                  <c:v>4.0415079759342056</c:v>
                </c:pt>
                <c:pt idx="19">
                  <c:v>4.3174820019082318</c:v>
                </c:pt>
                <c:pt idx="20">
                  <c:v>7.1333861413417834</c:v>
                </c:pt>
                <c:pt idx="21">
                  <c:v>9.9212833281460728</c:v>
                </c:pt>
                <c:pt idx="22">
                  <c:v>14.444117051799468</c:v>
                </c:pt>
                <c:pt idx="23">
                  <c:v>18.361667678607571</c:v>
                </c:pt>
                <c:pt idx="24">
                  <c:v>21.100865209471767</c:v>
                </c:pt>
                <c:pt idx="25">
                  <c:v>20.95413377858733</c:v>
                </c:pt>
                <c:pt idx="26">
                  <c:v>17.286734758813797</c:v>
                </c:pt>
                <c:pt idx="27">
                  <c:v>14.455262822960416</c:v>
                </c:pt>
                <c:pt idx="28">
                  <c:v>11.000703846313087</c:v>
                </c:pt>
                <c:pt idx="29">
                  <c:v>8.5642777294745986</c:v>
                </c:pt>
                <c:pt idx="30">
                  <c:v>6.1874163319946449</c:v>
                </c:pt>
                <c:pt idx="31">
                  <c:v>5.3464052287581696</c:v>
                </c:pt>
                <c:pt idx="32">
                  <c:v>8.0187216129389611</c:v>
                </c:pt>
                <c:pt idx="33">
                  <c:v>8.4771897898537389</c:v>
                </c:pt>
                <c:pt idx="34">
                  <c:v>10.001345844027988</c:v>
                </c:pt>
                <c:pt idx="35">
                  <c:v>10.949491506051819</c:v>
                </c:pt>
                <c:pt idx="36">
                  <c:v>11.34360858766289</c:v>
                </c:pt>
                <c:pt idx="37">
                  <c:v>12.280129111812281</c:v>
                </c:pt>
                <c:pt idx="38">
                  <c:v>9.620451379333149</c:v>
                </c:pt>
                <c:pt idx="39">
                  <c:v>8.6118111894714673</c:v>
                </c:pt>
                <c:pt idx="40">
                  <c:v>7.95329367702137</c:v>
                </c:pt>
                <c:pt idx="41">
                  <c:v>6.4040319970407351</c:v>
                </c:pt>
                <c:pt idx="42">
                  <c:v>4.2517927186739053</c:v>
                </c:pt>
                <c:pt idx="43">
                  <c:v>2.1630574838712557</c:v>
                </c:pt>
                <c:pt idx="44">
                  <c:v>2.8444310249897877</c:v>
                </c:pt>
                <c:pt idx="45">
                  <c:v>2.7671043196597682</c:v>
                </c:pt>
                <c:pt idx="46">
                  <c:v>2.596164148719597</c:v>
                </c:pt>
                <c:pt idx="47">
                  <c:v>1.5032679738562091</c:v>
                </c:pt>
                <c:pt idx="48">
                  <c:v>1.1111111111111112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.48661800486618007</c:v>
                </c:pt>
                <c:pt idx="60">
                  <c:v>0.48661800486618007</c:v>
                </c:pt>
                <c:pt idx="61">
                  <c:v>0.77151828976646497</c:v>
                </c:pt>
                <c:pt idx="62">
                  <c:v>0.28490028490028491</c:v>
                </c:pt>
                <c:pt idx="63">
                  <c:v>0.28490028490028491</c:v>
                </c:pt>
                <c:pt idx="64">
                  <c:v>0</c:v>
                </c:pt>
                <c:pt idx="65">
                  <c:v>0.33003300330033003</c:v>
                </c:pt>
                <c:pt idx="66">
                  <c:v>0.33003300330033003</c:v>
                </c:pt>
                <c:pt idx="67">
                  <c:v>0.65683038892124512</c:v>
                </c:pt>
                <c:pt idx="68">
                  <c:v>1.8082788671023966</c:v>
                </c:pt>
                <c:pt idx="69">
                  <c:v>3.6601307189542482</c:v>
                </c:pt>
                <c:pt idx="70">
                  <c:v>7.916666666666667</c:v>
                </c:pt>
                <c:pt idx="71">
                  <c:v>9.7965297230003117</c:v>
                </c:pt>
                <c:pt idx="72">
                  <c:v>11.45344980097302</c:v>
                </c:pt>
                <c:pt idx="73">
                  <c:v>12.477593103153707</c:v>
                </c:pt>
                <c:pt idx="74">
                  <c:v>17.246329866151587</c:v>
                </c:pt>
                <c:pt idx="75">
                  <c:v>22.136508067560623</c:v>
                </c:pt>
                <c:pt idx="76">
                  <c:v>22.243317146332316</c:v>
                </c:pt>
                <c:pt idx="77">
                  <c:v>16.412086420231951</c:v>
                </c:pt>
                <c:pt idx="78">
                  <c:v>10.91168701363604</c:v>
                </c:pt>
                <c:pt idx="79">
                  <c:v>6.1497822517312768</c:v>
                </c:pt>
                <c:pt idx="80">
                  <c:v>5.7288659493191032</c:v>
                </c:pt>
                <c:pt idx="81">
                  <c:v>6.5340189283851258</c:v>
                </c:pt>
                <c:pt idx="82">
                  <c:v>9.3316379760041723</c:v>
                </c:pt>
                <c:pt idx="83">
                  <c:v>11.739417989417989</c:v>
                </c:pt>
                <c:pt idx="84">
                  <c:v>11.867131910235358</c:v>
                </c:pt>
                <c:pt idx="85">
                  <c:v>9.5823333754368232</c:v>
                </c:pt>
                <c:pt idx="86">
                  <c:v>7.1484709415743906</c:v>
                </c:pt>
                <c:pt idx="87">
                  <c:v>3.317053317053317</c:v>
                </c:pt>
                <c:pt idx="88">
                  <c:v>2.576489533011272</c:v>
                </c:pt>
                <c:pt idx="89">
                  <c:v>1.4492753623188406</c:v>
                </c:pt>
                <c:pt idx="90">
                  <c:v>2.0142471137312699</c:v>
                </c:pt>
                <c:pt idx="91">
                  <c:v>1.2896094325718497</c:v>
                </c:pt>
                <c:pt idx="92">
                  <c:v>0.93127211771279572</c:v>
                </c:pt>
                <c:pt idx="93">
                  <c:v>0.36630036630036633</c:v>
                </c:pt>
                <c:pt idx="94">
                  <c:v>0.36630036630036633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.49019607843137253</c:v>
                </c:pt>
                <c:pt idx="99">
                  <c:v>0.49019607843137253</c:v>
                </c:pt>
                <c:pt idx="100">
                  <c:v>0.49019607843137253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.52910052910052907</c:v>
                </c:pt>
                <c:pt idx="110">
                  <c:v>1.4423425382329491</c:v>
                </c:pt>
                <c:pt idx="111">
                  <c:v>1.4423425382329491</c:v>
                </c:pt>
                <c:pt idx="112">
                  <c:v>2.4283935242839352</c:v>
                </c:pt>
                <c:pt idx="113">
                  <c:v>3.4382284382284385</c:v>
                </c:pt>
                <c:pt idx="114">
                  <c:v>4.1958041958041958</c:v>
                </c:pt>
                <c:pt idx="115">
                  <c:v>4.2935559064591322</c:v>
                </c:pt>
                <c:pt idx="116">
                  <c:v>4.9630715759748014</c:v>
                </c:pt>
                <c:pt idx="117">
                  <c:v>5.6980331318318802</c:v>
                </c:pt>
                <c:pt idx="118">
                  <c:v>4.8097675871848482</c:v>
                </c:pt>
                <c:pt idx="119">
                  <c:v>2.2171749945922561</c:v>
                </c:pt>
                <c:pt idx="120">
                  <c:v>0.72463768115942029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.4065040650406504</c:v>
                </c:pt>
                <c:pt idx="166">
                  <c:v>0.4065040650406504</c:v>
                </c:pt>
                <c:pt idx="167">
                  <c:v>0.4065040650406504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.32051282051282054</c:v>
                </c:pt>
                <c:pt idx="173">
                  <c:v>0.32051282051282054</c:v>
                </c:pt>
                <c:pt idx="174">
                  <c:v>0.59151553053992079</c:v>
                </c:pt>
                <c:pt idx="175">
                  <c:v>0.81745079745879423</c:v>
                </c:pt>
                <c:pt idx="176">
                  <c:v>1.0778674641254609</c:v>
                </c:pt>
                <c:pt idx="177">
                  <c:v>1.4417853890189958</c:v>
                </c:pt>
                <c:pt idx="178">
                  <c:v>1.2576561421670118</c:v>
                </c:pt>
                <c:pt idx="179">
                  <c:v>2.0073404856013553</c:v>
                </c:pt>
                <c:pt idx="180">
                  <c:v>3.0818215600824295</c:v>
                </c:pt>
                <c:pt idx="181">
                  <c:v>3.8123988943661078</c:v>
                </c:pt>
                <c:pt idx="182">
                  <c:v>3.0215961298791321</c:v>
                </c:pt>
                <c:pt idx="183">
                  <c:v>1.7066717380316636</c:v>
                </c:pt>
                <c:pt idx="184">
                  <c:v>0.80316950256221509</c:v>
                </c:pt>
                <c:pt idx="185">
                  <c:v>1.0468342199111429</c:v>
                </c:pt>
                <c:pt idx="186">
                  <c:v>0.81819438162721747</c:v>
                </c:pt>
                <c:pt idx="187">
                  <c:v>0.80705356166286801</c:v>
                </c:pt>
                <c:pt idx="188">
                  <c:v>1.3102741735791321</c:v>
                </c:pt>
                <c:pt idx="189">
                  <c:v>1.3428493927215153</c:v>
                </c:pt>
                <c:pt idx="190">
                  <c:v>2.4890995845502037</c:v>
                </c:pt>
                <c:pt idx="191">
                  <c:v>2.8474193209292551</c:v>
                </c:pt>
                <c:pt idx="192">
                  <c:v>3.0656732891832235</c:v>
                </c:pt>
                <c:pt idx="193">
                  <c:v>4.0721723089272759</c:v>
                </c:pt>
                <c:pt idx="194">
                  <c:v>6.8628953351175568</c:v>
                </c:pt>
                <c:pt idx="195">
                  <c:v>8.5483307705529921</c:v>
                </c:pt>
                <c:pt idx="196">
                  <c:v>8.9200311422533645</c:v>
                </c:pt>
                <c:pt idx="197">
                  <c:v>5.8800736220091059</c:v>
                </c:pt>
                <c:pt idx="198">
                  <c:v>7.6241253660608495</c:v>
                </c:pt>
                <c:pt idx="199">
                  <c:v>6.773274515209998</c:v>
                </c:pt>
                <c:pt idx="200">
                  <c:v>7.7598613681087905</c:v>
                </c:pt>
                <c:pt idx="201">
                  <c:v>8.4700624380220919</c:v>
                </c:pt>
                <c:pt idx="202">
                  <c:v>11.833630087304025</c:v>
                </c:pt>
                <c:pt idx="203">
                  <c:v>15.541005186431702</c:v>
                </c:pt>
                <c:pt idx="204">
                  <c:v>15.746555032269319</c:v>
                </c:pt>
                <c:pt idx="205">
                  <c:v>14.519739519739518</c:v>
                </c:pt>
                <c:pt idx="206">
                  <c:v>11.038090449855156</c:v>
                </c:pt>
                <c:pt idx="207">
                  <c:v>7.0513794864000063</c:v>
                </c:pt>
                <c:pt idx="208">
                  <c:v>3.062775497796018</c:v>
                </c:pt>
                <c:pt idx="209">
                  <c:v>1.5882019285309132</c:v>
                </c:pt>
                <c:pt idx="210">
                  <c:v>1.2195121951219512</c:v>
                </c:pt>
                <c:pt idx="211">
                  <c:v>1.2195121951219512</c:v>
                </c:pt>
                <c:pt idx="212">
                  <c:v>0.4065040650406504</c:v>
                </c:pt>
                <c:pt idx="213">
                  <c:v>0</c:v>
                </c:pt>
                <c:pt idx="214">
                  <c:v>0</c:v>
                </c:pt>
                <c:pt idx="215">
                  <c:v>0.28011204481792717</c:v>
                </c:pt>
                <c:pt idx="216">
                  <c:v>0.5425792364189771</c:v>
                </c:pt>
                <c:pt idx="217">
                  <c:v>0.77567946951921007</c:v>
                </c:pt>
                <c:pt idx="218">
                  <c:v>1.2308615423483418</c:v>
                </c:pt>
                <c:pt idx="219">
                  <c:v>1.6135556410698726</c:v>
                </c:pt>
                <c:pt idx="220">
                  <c:v>2.2297123081819539</c:v>
                </c:pt>
                <c:pt idx="221">
                  <c:v>2.1155362029572551</c:v>
                </c:pt>
                <c:pt idx="222">
                  <c:v>2.2056690302817334</c:v>
                </c:pt>
                <c:pt idx="223">
                  <c:v>2.2336051125255594</c:v>
                </c:pt>
                <c:pt idx="224">
                  <c:v>2.7861960202909923</c:v>
                </c:pt>
                <c:pt idx="225">
                  <c:v>4.2189235828607359</c:v>
                </c:pt>
                <c:pt idx="226">
                  <c:v>5.4121239751457964</c:v>
                </c:pt>
                <c:pt idx="227">
                  <c:v>6.7005362670792152</c:v>
                </c:pt>
                <c:pt idx="228">
                  <c:v>6.9013809151196055</c:v>
                </c:pt>
                <c:pt idx="229">
                  <c:v>7.1998538686355955</c:v>
                </c:pt>
                <c:pt idx="230">
                  <c:v>8.5529937006910899</c:v>
                </c:pt>
                <c:pt idx="231">
                  <c:v>9.8707633171343598</c:v>
                </c:pt>
                <c:pt idx="232">
                  <c:v>12.05676241330781</c:v>
                </c:pt>
                <c:pt idx="233">
                  <c:v>13.560650305301316</c:v>
                </c:pt>
                <c:pt idx="234">
                  <c:v>13.728889644047568</c:v>
                </c:pt>
                <c:pt idx="235">
                  <c:v>14.196855269845235</c:v>
                </c:pt>
                <c:pt idx="236">
                  <c:v>10.337560348273561</c:v>
                </c:pt>
                <c:pt idx="237">
                  <c:v>7.7565704151453225</c:v>
                </c:pt>
                <c:pt idx="238">
                  <c:v>4.056490687668334</c:v>
                </c:pt>
                <c:pt idx="239">
                  <c:v>2.5966366730697938</c:v>
                </c:pt>
                <c:pt idx="240">
                  <c:v>1.9343721178583564</c:v>
                </c:pt>
                <c:pt idx="241">
                  <c:v>2.1354303189165571</c:v>
                </c:pt>
                <c:pt idx="242">
                  <c:v>4.7147953982816366</c:v>
                </c:pt>
                <c:pt idx="243">
                  <c:v>5.2796451914098972</c:v>
                </c:pt>
                <c:pt idx="244">
                  <c:v>6.3600023342670404</c:v>
                </c:pt>
                <c:pt idx="245">
                  <c:v>7.1336944541130061</c:v>
                </c:pt>
                <c:pt idx="246">
                  <c:v>9.9802123716248392</c:v>
                </c:pt>
                <c:pt idx="247">
                  <c:v>11.478609807522275</c:v>
                </c:pt>
                <c:pt idx="248">
                  <c:v>11.049529216498364</c:v>
                </c:pt>
                <c:pt idx="249">
                  <c:v>10.564715757306173</c:v>
                </c:pt>
                <c:pt idx="250">
                  <c:v>8.0825220251124392</c:v>
                </c:pt>
                <c:pt idx="251">
                  <c:v>6.5641679068851451</c:v>
                </c:pt>
                <c:pt idx="252">
                  <c:v>3.9455330902152674</c:v>
                </c:pt>
                <c:pt idx="253">
                  <c:v>2.5334960531782302</c:v>
                </c:pt>
                <c:pt idx="254">
                  <c:v>1.8081456720619282</c:v>
                </c:pt>
                <c:pt idx="255">
                  <c:v>1.1735057270771556</c:v>
                </c:pt>
                <c:pt idx="256">
                  <c:v>1.7227481513195801</c:v>
                </c:pt>
                <c:pt idx="257">
                  <c:v>1.298886298886299</c:v>
                </c:pt>
                <c:pt idx="258">
                  <c:v>1.3142863142863144</c:v>
                </c:pt>
                <c:pt idx="259">
                  <c:v>0.55671055671055669</c:v>
                </c:pt>
                <c:pt idx="260">
                  <c:v>0.3003003003003003</c:v>
                </c:pt>
                <c:pt idx="261">
                  <c:v>0</c:v>
                </c:pt>
                <c:pt idx="262">
                  <c:v>0.23809523809523811</c:v>
                </c:pt>
                <c:pt idx="263">
                  <c:v>0.23809523809523811</c:v>
                </c:pt>
                <c:pt idx="264">
                  <c:v>0.23809523809523811</c:v>
                </c:pt>
                <c:pt idx="265">
                  <c:v>0</c:v>
                </c:pt>
                <c:pt idx="266">
                  <c:v>0.44444444444444448</c:v>
                </c:pt>
                <c:pt idx="267">
                  <c:v>0.44444444444444448</c:v>
                </c:pt>
                <c:pt idx="268">
                  <c:v>0.44444444444444448</c:v>
                </c:pt>
                <c:pt idx="269">
                  <c:v>0</c:v>
                </c:pt>
                <c:pt idx="270">
                  <c:v>0</c:v>
                </c:pt>
                <c:pt idx="271">
                  <c:v>0.15948963317384371</c:v>
                </c:pt>
                <c:pt idx="272">
                  <c:v>0.36150983519404573</c:v>
                </c:pt>
                <c:pt idx="273">
                  <c:v>0.70164588961581442</c:v>
                </c:pt>
                <c:pt idx="274">
                  <c:v>1.1790989316012064</c:v>
                </c:pt>
                <c:pt idx="275">
                  <c:v>2.759609923876905</c:v>
                </c:pt>
                <c:pt idx="276">
                  <c:v>4.7492229733977878</c:v>
                </c:pt>
                <c:pt idx="277">
                  <c:v>7.2075183934766471</c:v>
                </c:pt>
                <c:pt idx="278">
                  <c:v>8.9249871991807481</c:v>
                </c:pt>
                <c:pt idx="279">
                  <c:v>13.040910286766641</c:v>
                </c:pt>
                <c:pt idx="280">
                  <c:v>17.985873196553669</c:v>
                </c:pt>
                <c:pt idx="281">
                  <c:v>24.586883297563769</c:v>
                </c:pt>
                <c:pt idx="282">
                  <c:v>26.94270923337605</c:v>
                </c:pt>
                <c:pt idx="283">
                  <c:v>24.828434154276852</c:v>
                </c:pt>
                <c:pt idx="284">
                  <c:v>19.675340719933416</c:v>
                </c:pt>
                <c:pt idx="285">
                  <c:v>15.404586929162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5F89-4425-AADF-C419A7E368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9898512"/>
        <c:axId val="609895232"/>
        <c:extLst>
          <c:ext xmlns:c15="http://schemas.microsoft.com/office/drawing/2012/chart" uri="{02D57815-91ED-43cb-92C2-25804820EDAC}">
            <c15:filteredLineSeries>
              <c15:ser>
                <c:idx val="9"/>
                <c:order val="8"/>
                <c:tx>
                  <c:strRef>
                    <c:extLst>
                      <c:ext uri="{02D57815-91ED-43cb-92C2-25804820EDAC}">
                        <c15:formulaRef>
                          <c15:sqref>'SRI 2016-2023'!$L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marker>
                  <c:symbol val="none"/>
                </c:marker>
                <c:cat>
                  <c:multiLvlStrRef>
                    <c:extLst>
                      <c:ext uri="{02D57815-91ED-43cb-92C2-25804820EDAC}">
                        <c15:formulaRef>
                          <c15:sqref>'SRI 2016-2023'!$A$2:$B$283</c15:sqref>
                        </c15:formulaRef>
                      </c:ext>
                    </c:extLst>
                    <c:multiLvlStrCache>
                      <c:ptCount val="282"/>
                      <c:lvl>
                        <c:pt idx="0">
                          <c:v>1</c:v>
                        </c:pt>
                        <c:pt idx="1">
                          <c:v>2</c:v>
                        </c:pt>
                        <c:pt idx="2">
                          <c:v>3</c:v>
                        </c:pt>
                        <c:pt idx="3">
                          <c:v>4</c:v>
                        </c:pt>
                        <c:pt idx="4">
                          <c:v>5</c:v>
                        </c:pt>
                        <c:pt idx="5">
                          <c:v>6</c:v>
                        </c:pt>
                        <c:pt idx="6">
                          <c:v>7</c:v>
                        </c:pt>
                        <c:pt idx="7">
                          <c:v>8</c:v>
                        </c:pt>
                        <c:pt idx="8">
                          <c:v>9</c:v>
                        </c:pt>
                        <c:pt idx="9">
                          <c:v>10</c:v>
                        </c:pt>
                        <c:pt idx="10">
                          <c:v>11</c:v>
                        </c:pt>
                        <c:pt idx="11">
                          <c:v>12</c:v>
                        </c:pt>
                        <c:pt idx="12">
                          <c:v>13</c:v>
                        </c:pt>
                        <c:pt idx="13">
                          <c:v>14</c:v>
                        </c:pt>
                        <c:pt idx="14">
                          <c:v>15</c:v>
                        </c:pt>
                        <c:pt idx="15">
                          <c:v>16</c:v>
                        </c:pt>
                        <c:pt idx="16">
                          <c:v>17</c:v>
                        </c:pt>
                        <c:pt idx="17">
                          <c:v>18</c:v>
                        </c:pt>
                        <c:pt idx="18">
                          <c:v>19</c:v>
                        </c:pt>
                        <c:pt idx="19">
                          <c:v>20</c:v>
                        </c:pt>
                        <c:pt idx="20">
                          <c:v>21</c:v>
                        </c:pt>
                        <c:pt idx="21">
                          <c:v>22</c:v>
                        </c:pt>
                        <c:pt idx="22">
                          <c:v>23</c:v>
                        </c:pt>
                        <c:pt idx="23">
                          <c:v>24</c:v>
                        </c:pt>
                        <c:pt idx="24">
                          <c:v>25</c:v>
                        </c:pt>
                        <c:pt idx="25">
                          <c:v>26</c:v>
                        </c:pt>
                        <c:pt idx="26">
                          <c:v>27</c:v>
                        </c:pt>
                        <c:pt idx="27">
                          <c:v>28</c:v>
                        </c:pt>
                        <c:pt idx="28">
                          <c:v>29</c:v>
                        </c:pt>
                        <c:pt idx="29">
                          <c:v>30</c:v>
                        </c:pt>
                        <c:pt idx="30">
                          <c:v>31</c:v>
                        </c:pt>
                        <c:pt idx="31">
                          <c:v>32</c:v>
                        </c:pt>
                        <c:pt idx="32">
                          <c:v>33</c:v>
                        </c:pt>
                        <c:pt idx="33">
                          <c:v>34</c:v>
                        </c:pt>
                        <c:pt idx="34">
                          <c:v>35</c:v>
                        </c:pt>
                        <c:pt idx="35">
                          <c:v>36</c:v>
                        </c:pt>
                        <c:pt idx="36">
                          <c:v>37</c:v>
                        </c:pt>
                        <c:pt idx="37">
                          <c:v>38</c:v>
                        </c:pt>
                        <c:pt idx="38">
                          <c:v>39</c:v>
                        </c:pt>
                        <c:pt idx="39">
                          <c:v>40</c:v>
                        </c:pt>
                        <c:pt idx="40">
                          <c:v>41</c:v>
                        </c:pt>
                        <c:pt idx="41">
                          <c:v>42</c:v>
                        </c:pt>
                        <c:pt idx="42">
                          <c:v>43</c:v>
                        </c:pt>
                        <c:pt idx="43">
                          <c:v>44</c:v>
                        </c:pt>
                        <c:pt idx="44">
                          <c:v>45</c:v>
                        </c:pt>
                        <c:pt idx="45">
                          <c:v>46</c:v>
                        </c:pt>
                        <c:pt idx="46">
                          <c:v>47</c:v>
                        </c:pt>
                        <c:pt idx="47">
                          <c:v>48</c:v>
                        </c:pt>
                        <c:pt idx="48">
                          <c:v>49</c:v>
                        </c:pt>
                        <c:pt idx="49">
                          <c:v>50</c:v>
                        </c:pt>
                        <c:pt idx="50">
                          <c:v>51</c:v>
                        </c:pt>
                        <c:pt idx="51">
                          <c:v>52</c:v>
                        </c:pt>
                        <c:pt idx="52">
                          <c:v>1</c:v>
                        </c:pt>
                        <c:pt idx="53">
                          <c:v>2</c:v>
                        </c:pt>
                        <c:pt idx="54">
                          <c:v>3</c:v>
                        </c:pt>
                        <c:pt idx="55">
                          <c:v>4</c:v>
                        </c:pt>
                        <c:pt idx="56">
                          <c:v>5</c:v>
                        </c:pt>
                        <c:pt idx="57">
                          <c:v>6</c:v>
                        </c:pt>
                        <c:pt idx="58">
                          <c:v>7</c:v>
                        </c:pt>
                        <c:pt idx="59">
                          <c:v>8</c:v>
                        </c:pt>
                        <c:pt idx="60">
                          <c:v>9</c:v>
                        </c:pt>
                        <c:pt idx="61">
                          <c:v>10</c:v>
                        </c:pt>
                        <c:pt idx="62">
                          <c:v>11</c:v>
                        </c:pt>
                        <c:pt idx="63">
                          <c:v>12</c:v>
                        </c:pt>
                        <c:pt idx="64">
                          <c:v>13</c:v>
                        </c:pt>
                        <c:pt idx="65">
                          <c:v>14</c:v>
                        </c:pt>
                        <c:pt idx="66">
                          <c:v>15</c:v>
                        </c:pt>
                        <c:pt idx="67">
                          <c:v>16</c:v>
                        </c:pt>
                        <c:pt idx="68">
                          <c:v>17</c:v>
                        </c:pt>
                        <c:pt idx="69">
                          <c:v>18</c:v>
                        </c:pt>
                        <c:pt idx="70">
                          <c:v>19</c:v>
                        </c:pt>
                        <c:pt idx="71">
                          <c:v>20</c:v>
                        </c:pt>
                        <c:pt idx="72">
                          <c:v>21</c:v>
                        </c:pt>
                        <c:pt idx="73">
                          <c:v>22</c:v>
                        </c:pt>
                        <c:pt idx="74">
                          <c:v>23</c:v>
                        </c:pt>
                        <c:pt idx="75">
                          <c:v>24</c:v>
                        </c:pt>
                        <c:pt idx="76">
                          <c:v>25</c:v>
                        </c:pt>
                        <c:pt idx="77">
                          <c:v>26</c:v>
                        </c:pt>
                        <c:pt idx="78">
                          <c:v>27</c:v>
                        </c:pt>
                        <c:pt idx="79">
                          <c:v>28</c:v>
                        </c:pt>
                        <c:pt idx="80">
                          <c:v>29</c:v>
                        </c:pt>
                        <c:pt idx="81">
                          <c:v>30</c:v>
                        </c:pt>
                        <c:pt idx="82">
                          <c:v>31</c:v>
                        </c:pt>
                        <c:pt idx="83">
                          <c:v>32</c:v>
                        </c:pt>
                        <c:pt idx="84">
                          <c:v>33</c:v>
                        </c:pt>
                        <c:pt idx="85">
                          <c:v>34</c:v>
                        </c:pt>
                        <c:pt idx="86">
                          <c:v>35</c:v>
                        </c:pt>
                        <c:pt idx="87">
                          <c:v>36</c:v>
                        </c:pt>
                        <c:pt idx="88">
                          <c:v>37</c:v>
                        </c:pt>
                        <c:pt idx="89">
                          <c:v>38</c:v>
                        </c:pt>
                        <c:pt idx="90">
                          <c:v>39</c:v>
                        </c:pt>
                        <c:pt idx="91">
                          <c:v>40</c:v>
                        </c:pt>
                        <c:pt idx="92">
                          <c:v>41</c:v>
                        </c:pt>
                        <c:pt idx="93">
                          <c:v>42</c:v>
                        </c:pt>
                        <c:pt idx="94">
                          <c:v>43</c:v>
                        </c:pt>
                        <c:pt idx="95">
                          <c:v>44</c:v>
                        </c:pt>
                        <c:pt idx="96">
                          <c:v>45</c:v>
                        </c:pt>
                        <c:pt idx="97">
                          <c:v>46</c:v>
                        </c:pt>
                        <c:pt idx="98">
                          <c:v>47</c:v>
                        </c:pt>
                        <c:pt idx="99">
                          <c:v>48</c:v>
                        </c:pt>
                        <c:pt idx="100">
                          <c:v>49</c:v>
                        </c:pt>
                        <c:pt idx="101">
                          <c:v>50</c:v>
                        </c:pt>
                        <c:pt idx="102">
                          <c:v>51</c:v>
                        </c:pt>
                        <c:pt idx="103">
                          <c:v>52</c:v>
                        </c:pt>
                        <c:pt idx="104">
                          <c:v>1</c:v>
                        </c:pt>
                        <c:pt idx="105">
                          <c:v>2</c:v>
                        </c:pt>
                        <c:pt idx="106">
                          <c:v>3</c:v>
                        </c:pt>
                        <c:pt idx="107">
                          <c:v>4</c:v>
                        </c:pt>
                        <c:pt idx="108">
                          <c:v>5</c:v>
                        </c:pt>
                        <c:pt idx="109">
                          <c:v>6</c:v>
                        </c:pt>
                        <c:pt idx="110">
                          <c:v>7</c:v>
                        </c:pt>
                        <c:pt idx="111">
                          <c:v>8</c:v>
                        </c:pt>
                        <c:pt idx="112">
                          <c:v>9</c:v>
                        </c:pt>
                        <c:pt idx="113">
                          <c:v>10</c:v>
                        </c:pt>
                        <c:pt idx="114">
                          <c:v>11</c:v>
                        </c:pt>
                        <c:pt idx="115">
                          <c:v>12</c:v>
                        </c:pt>
                        <c:pt idx="116">
                          <c:v>13</c:v>
                        </c:pt>
                        <c:pt idx="117">
                          <c:v>14</c:v>
                        </c:pt>
                        <c:pt idx="118">
                          <c:v>15</c:v>
                        </c:pt>
                        <c:pt idx="119">
                          <c:v>16</c:v>
                        </c:pt>
                        <c:pt idx="120">
                          <c:v>17</c:v>
                        </c:pt>
                        <c:pt idx="121">
                          <c:v>18</c:v>
                        </c:pt>
                        <c:pt idx="122">
                          <c:v>19</c:v>
                        </c:pt>
                        <c:pt idx="123">
                          <c:v>20</c:v>
                        </c:pt>
                        <c:pt idx="124">
                          <c:v>21</c:v>
                        </c:pt>
                        <c:pt idx="125">
                          <c:v>22</c:v>
                        </c:pt>
                        <c:pt idx="126">
                          <c:v>23</c:v>
                        </c:pt>
                        <c:pt idx="127">
                          <c:v>24</c:v>
                        </c:pt>
                        <c:pt idx="128">
                          <c:v>25</c:v>
                        </c:pt>
                        <c:pt idx="129">
                          <c:v>26</c:v>
                        </c:pt>
                        <c:pt idx="130">
                          <c:v>27</c:v>
                        </c:pt>
                        <c:pt idx="131">
                          <c:v>28</c:v>
                        </c:pt>
                        <c:pt idx="132">
                          <c:v>29</c:v>
                        </c:pt>
                        <c:pt idx="133">
                          <c:v>30</c:v>
                        </c:pt>
                        <c:pt idx="134">
                          <c:v>31</c:v>
                        </c:pt>
                        <c:pt idx="135">
                          <c:v>32</c:v>
                        </c:pt>
                        <c:pt idx="136">
                          <c:v>33</c:v>
                        </c:pt>
                        <c:pt idx="137">
                          <c:v>34</c:v>
                        </c:pt>
                        <c:pt idx="138">
                          <c:v>35</c:v>
                        </c:pt>
                        <c:pt idx="139">
                          <c:v>36</c:v>
                        </c:pt>
                        <c:pt idx="140">
                          <c:v>37</c:v>
                        </c:pt>
                        <c:pt idx="141">
                          <c:v>38</c:v>
                        </c:pt>
                        <c:pt idx="142">
                          <c:v>39</c:v>
                        </c:pt>
                        <c:pt idx="143">
                          <c:v>40</c:v>
                        </c:pt>
                        <c:pt idx="144">
                          <c:v>41</c:v>
                        </c:pt>
                        <c:pt idx="145">
                          <c:v>42</c:v>
                        </c:pt>
                        <c:pt idx="146">
                          <c:v>43</c:v>
                        </c:pt>
                        <c:pt idx="147">
                          <c:v>44</c:v>
                        </c:pt>
                        <c:pt idx="148">
                          <c:v>45</c:v>
                        </c:pt>
                        <c:pt idx="149">
                          <c:v>46</c:v>
                        </c:pt>
                        <c:pt idx="150">
                          <c:v>47</c:v>
                        </c:pt>
                        <c:pt idx="151">
                          <c:v>48</c:v>
                        </c:pt>
                        <c:pt idx="152">
                          <c:v>49</c:v>
                        </c:pt>
                        <c:pt idx="153">
                          <c:v>50</c:v>
                        </c:pt>
                        <c:pt idx="154">
                          <c:v>51</c:v>
                        </c:pt>
                        <c:pt idx="155">
                          <c:v>52</c:v>
                        </c:pt>
                        <c:pt idx="156">
                          <c:v>53</c:v>
                        </c:pt>
                        <c:pt idx="157">
                          <c:v>1</c:v>
                        </c:pt>
                        <c:pt idx="158">
                          <c:v>2</c:v>
                        </c:pt>
                        <c:pt idx="159">
                          <c:v>3</c:v>
                        </c:pt>
                        <c:pt idx="160">
                          <c:v>4</c:v>
                        </c:pt>
                        <c:pt idx="161">
                          <c:v>5</c:v>
                        </c:pt>
                        <c:pt idx="162">
                          <c:v>6</c:v>
                        </c:pt>
                        <c:pt idx="163">
                          <c:v>7</c:v>
                        </c:pt>
                        <c:pt idx="164">
                          <c:v>8</c:v>
                        </c:pt>
                        <c:pt idx="165">
                          <c:v>9</c:v>
                        </c:pt>
                        <c:pt idx="166">
                          <c:v>10</c:v>
                        </c:pt>
                        <c:pt idx="167">
                          <c:v>11</c:v>
                        </c:pt>
                        <c:pt idx="168">
                          <c:v>12</c:v>
                        </c:pt>
                        <c:pt idx="169">
                          <c:v>13</c:v>
                        </c:pt>
                        <c:pt idx="170">
                          <c:v>14</c:v>
                        </c:pt>
                        <c:pt idx="171">
                          <c:v>15</c:v>
                        </c:pt>
                        <c:pt idx="172">
                          <c:v>16</c:v>
                        </c:pt>
                        <c:pt idx="173">
                          <c:v>17</c:v>
                        </c:pt>
                        <c:pt idx="174">
                          <c:v>18</c:v>
                        </c:pt>
                        <c:pt idx="175">
                          <c:v>19</c:v>
                        </c:pt>
                        <c:pt idx="176">
                          <c:v>20</c:v>
                        </c:pt>
                        <c:pt idx="177">
                          <c:v>21</c:v>
                        </c:pt>
                        <c:pt idx="178">
                          <c:v>22</c:v>
                        </c:pt>
                        <c:pt idx="179">
                          <c:v>23</c:v>
                        </c:pt>
                        <c:pt idx="180">
                          <c:v>24</c:v>
                        </c:pt>
                        <c:pt idx="181">
                          <c:v>25</c:v>
                        </c:pt>
                        <c:pt idx="182">
                          <c:v>26</c:v>
                        </c:pt>
                        <c:pt idx="183">
                          <c:v>27</c:v>
                        </c:pt>
                        <c:pt idx="184">
                          <c:v>28</c:v>
                        </c:pt>
                        <c:pt idx="185">
                          <c:v>29</c:v>
                        </c:pt>
                        <c:pt idx="186">
                          <c:v>30</c:v>
                        </c:pt>
                        <c:pt idx="187">
                          <c:v>31</c:v>
                        </c:pt>
                        <c:pt idx="188">
                          <c:v>32</c:v>
                        </c:pt>
                        <c:pt idx="189">
                          <c:v>33</c:v>
                        </c:pt>
                        <c:pt idx="190">
                          <c:v>34</c:v>
                        </c:pt>
                        <c:pt idx="191">
                          <c:v>35</c:v>
                        </c:pt>
                        <c:pt idx="192">
                          <c:v>36</c:v>
                        </c:pt>
                        <c:pt idx="193">
                          <c:v>37</c:v>
                        </c:pt>
                        <c:pt idx="194">
                          <c:v>38</c:v>
                        </c:pt>
                        <c:pt idx="195">
                          <c:v>39</c:v>
                        </c:pt>
                        <c:pt idx="196">
                          <c:v>40</c:v>
                        </c:pt>
                        <c:pt idx="197">
                          <c:v>41</c:v>
                        </c:pt>
                        <c:pt idx="198">
                          <c:v>42</c:v>
                        </c:pt>
                        <c:pt idx="199">
                          <c:v>43</c:v>
                        </c:pt>
                        <c:pt idx="200">
                          <c:v>44</c:v>
                        </c:pt>
                        <c:pt idx="201">
                          <c:v>45</c:v>
                        </c:pt>
                        <c:pt idx="202">
                          <c:v>46</c:v>
                        </c:pt>
                        <c:pt idx="203">
                          <c:v>47</c:v>
                        </c:pt>
                        <c:pt idx="204">
                          <c:v>48</c:v>
                        </c:pt>
                        <c:pt idx="205">
                          <c:v>49</c:v>
                        </c:pt>
                        <c:pt idx="206">
                          <c:v>50</c:v>
                        </c:pt>
                        <c:pt idx="207">
                          <c:v>51</c:v>
                        </c:pt>
                        <c:pt idx="208">
                          <c:v>52</c:v>
                        </c:pt>
                        <c:pt idx="209">
                          <c:v>1</c:v>
                        </c:pt>
                        <c:pt idx="210">
                          <c:v>2</c:v>
                        </c:pt>
                        <c:pt idx="211">
                          <c:v>3</c:v>
                        </c:pt>
                        <c:pt idx="212">
                          <c:v>4</c:v>
                        </c:pt>
                        <c:pt idx="213">
                          <c:v>5</c:v>
                        </c:pt>
                        <c:pt idx="214">
                          <c:v>6</c:v>
                        </c:pt>
                        <c:pt idx="215">
                          <c:v>7</c:v>
                        </c:pt>
                        <c:pt idx="216">
                          <c:v>8</c:v>
                        </c:pt>
                        <c:pt idx="217">
                          <c:v>9</c:v>
                        </c:pt>
                        <c:pt idx="218">
                          <c:v>10</c:v>
                        </c:pt>
                        <c:pt idx="219">
                          <c:v>11</c:v>
                        </c:pt>
                        <c:pt idx="220">
                          <c:v>12</c:v>
                        </c:pt>
                        <c:pt idx="221">
                          <c:v>13</c:v>
                        </c:pt>
                        <c:pt idx="222">
                          <c:v>14</c:v>
                        </c:pt>
                        <c:pt idx="223">
                          <c:v>15</c:v>
                        </c:pt>
                        <c:pt idx="224">
                          <c:v>16</c:v>
                        </c:pt>
                        <c:pt idx="225">
                          <c:v>17</c:v>
                        </c:pt>
                        <c:pt idx="226">
                          <c:v>18</c:v>
                        </c:pt>
                        <c:pt idx="227">
                          <c:v>19</c:v>
                        </c:pt>
                        <c:pt idx="228">
                          <c:v>20</c:v>
                        </c:pt>
                        <c:pt idx="229">
                          <c:v>21</c:v>
                        </c:pt>
                        <c:pt idx="230">
                          <c:v>22</c:v>
                        </c:pt>
                        <c:pt idx="231">
                          <c:v>23</c:v>
                        </c:pt>
                        <c:pt idx="232">
                          <c:v>24</c:v>
                        </c:pt>
                        <c:pt idx="233">
                          <c:v>25</c:v>
                        </c:pt>
                        <c:pt idx="234">
                          <c:v>26</c:v>
                        </c:pt>
                        <c:pt idx="235">
                          <c:v>27</c:v>
                        </c:pt>
                        <c:pt idx="236">
                          <c:v>28</c:v>
                        </c:pt>
                        <c:pt idx="237">
                          <c:v>29</c:v>
                        </c:pt>
                        <c:pt idx="238">
                          <c:v>30</c:v>
                        </c:pt>
                        <c:pt idx="239">
                          <c:v>31</c:v>
                        </c:pt>
                        <c:pt idx="240">
                          <c:v>32</c:v>
                        </c:pt>
                        <c:pt idx="241">
                          <c:v>33</c:v>
                        </c:pt>
                        <c:pt idx="242">
                          <c:v>34</c:v>
                        </c:pt>
                        <c:pt idx="243">
                          <c:v>35</c:v>
                        </c:pt>
                        <c:pt idx="244">
                          <c:v>36</c:v>
                        </c:pt>
                        <c:pt idx="245">
                          <c:v>37</c:v>
                        </c:pt>
                        <c:pt idx="246">
                          <c:v>38</c:v>
                        </c:pt>
                        <c:pt idx="247">
                          <c:v>39</c:v>
                        </c:pt>
                        <c:pt idx="248">
                          <c:v>40</c:v>
                        </c:pt>
                        <c:pt idx="249">
                          <c:v>41</c:v>
                        </c:pt>
                        <c:pt idx="250">
                          <c:v>42</c:v>
                        </c:pt>
                        <c:pt idx="251">
                          <c:v>43</c:v>
                        </c:pt>
                        <c:pt idx="252">
                          <c:v>44</c:v>
                        </c:pt>
                        <c:pt idx="253">
                          <c:v>45</c:v>
                        </c:pt>
                        <c:pt idx="254">
                          <c:v>46</c:v>
                        </c:pt>
                        <c:pt idx="255">
                          <c:v>47</c:v>
                        </c:pt>
                        <c:pt idx="256">
                          <c:v>48</c:v>
                        </c:pt>
                        <c:pt idx="257">
                          <c:v>49</c:v>
                        </c:pt>
                        <c:pt idx="258">
                          <c:v>50</c:v>
                        </c:pt>
                        <c:pt idx="259">
                          <c:v>51</c:v>
                        </c:pt>
                        <c:pt idx="260">
                          <c:v>52</c:v>
                        </c:pt>
                        <c:pt idx="261">
                          <c:v>1</c:v>
                        </c:pt>
                        <c:pt idx="262">
                          <c:v>2</c:v>
                        </c:pt>
                        <c:pt idx="263">
                          <c:v>3</c:v>
                        </c:pt>
                        <c:pt idx="264">
                          <c:v>4</c:v>
                        </c:pt>
                        <c:pt idx="265">
                          <c:v>5</c:v>
                        </c:pt>
                        <c:pt idx="266">
                          <c:v>6</c:v>
                        </c:pt>
                        <c:pt idx="267">
                          <c:v>7</c:v>
                        </c:pt>
                        <c:pt idx="268">
                          <c:v>8</c:v>
                        </c:pt>
                        <c:pt idx="269">
                          <c:v>9</c:v>
                        </c:pt>
                        <c:pt idx="270">
                          <c:v>10</c:v>
                        </c:pt>
                        <c:pt idx="271">
                          <c:v>11</c:v>
                        </c:pt>
                        <c:pt idx="272">
                          <c:v>12</c:v>
                        </c:pt>
                        <c:pt idx="273">
                          <c:v>13</c:v>
                        </c:pt>
                        <c:pt idx="274">
                          <c:v>14</c:v>
                        </c:pt>
                        <c:pt idx="275">
                          <c:v>15</c:v>
                        </c:pt>
                        <c:pt idx="276">
                          <c:v>16</c:v>
                        </c:pt>
                        <c:pt idx="277">
                          <c:v>17</c:v>
                        </c:pt>
                        <c:pt idx="278">
                          <c:v>18</c:v>
                        </c:pt>
                        <c:pt idx="279">
                          <c:v>19</c:v>
                        </c:pt>
                        <c:pt idx="280">
                          <c:v>20</c:v>
                        </c:pt>
                        <c:pt idx="281">
                          <c:v>21</c:v>
                        </c:pt>
                      </c:lvl>
                      <c:lvl>
                        <c:pt idx="0">
                          <c:v>2018</c:v>
                        </c:pt>
                        <c:pt idx="52">
                          <c:v>2019</c:v>
                        </c:pt>
                        <c:pt idx="104">
                          <c:v>2020</c:v>
                        </c:pt>
                        <c:pt idx="157">
                          <c:v>2021</c:v>
                        </c:pt>
                        <c:pt idx="209">
                          <c:v>2022</c:v>
                        </c:pt>
                        <c:pt idx="261">
                          <c:v>2023</c:v>
                        </c:pt>
                      </c:lvl>
                    </c:multiLvlStrCache>
                  </c:multiLvlStrRef>
                </c:cat>
                <c:val>
                  <c:numRef>
                    <c:extLst>
                      <c:ext uri="{02D57815-91ED-43cb-92C2-25804820EDAC}">
                        <c15:formulaRef>
                          <c15:sqref>'SRI 2016-2023'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5F89-4425-AADF-C419A7E368AF}"/>
                  </c:ext>
                </c:extLst>
              </c15:ser>
            </c15:filteredLineSeries>
          </c:ext>
        </c:extLst>
      </c:lineChart>
      <c:catAx>
        <c:axId val="6930700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 b="1" i="0" baseline="0" dirty="0">
                    <a:effectLst/>
                  </a:rPr>
                  <a:t>Epidemiologic Week</a:t>
                </a:r>
                <a:endParaRPr lang="en-ZA" sz="12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4382324149616541"/>
              <c:y val="0.77931628162597999"/>
            </c:manualLayout>
          </c:layout>
          <c:overlay val="0"/>
        </c:title>
        <c:numFmt formatCode="General" sourceLinked="1"/>
        <c:majorTickMark val="none"/>
        <c:minorTickMark val="out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69321472"/>
        <c:crosses val="autoZero"/>
        <c:auto val="0"/>
        <c:lblAlgn val="ctr"/>
        <c:lblOffset val="100"/>
        <c:noMultiLvlLbl val="0"/>
      </c:catAx>
      <c:valAx>
        <c:axId val="69321472"/>
        <c:scaling>
          <c:orientation val="minMax"/>
          <c:max val="70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 b="1" i="0" baseline="0" dirty="0">
                    <a:effectLst/>
                  </a:rPr>
                  <a:t>Number of positive samples</a:t>
                </a:r>
                <a:endParaRPr lang="en-ZA" sz="12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3743464088602857E-2"/>
              <c:y val="0.11676737444843019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69307008"/>
        <c:crosses val="autoZero"/>
        <c:crossBetween val="between"/>
        <c:majorUnit val="10"/>
        <c:minorUnit val="1"/>
      </c:valAx>
      <c:valAx>
        <c:axId val="609895232"/>
        <c:scaling>
          <c:orientation val="minMax"/>
        </c:scaling>
        <c:delete val="0"/>
        <c:axPos val="r"/>
        <c:title>
          <c:tx>
            <c:rich>
              <a:bodyPr/>
              <a:lstStyle/>
              <a:p>
                <a:pPr>
                  <a:defRPr sz="1200"/>
                </a:pPr>
                <a:r>
                  <a:rPr lang="en-GB" sz="1200" b="1" i="0" baseline="0" dirty="0">
                    <a:effectLst/>
                  </a:rPr>
                  <a:t>Detection rate (%)</a:t>
                </a:r>
                <a:endParaRPr lang="en-ZA" sz="1200" dirty="0">
                  <a:effectLst/>
                </a:endParaRP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crossAx val="609898512"/>
        <c:crosses val="max"/>
        <c:crossBetween val="between"/>
      </c:valAx>
      <c:catAx>
        <c:axId val="6098985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09895232"/>
        <c:crosses val="autoZero"/>
        <c:auto val="0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3.7540982182474043E-2"/>
          <c:y val="0.85209670923145298"/>
          <c:w val="0.92563273127793566"/>
          <c:h val="0.1479032907685470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1000" b="1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200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B5C477-2928-4FDD-8B24-893DCE8E5166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F792FFA-4515-406C-AC26-12E37E2A98F5}">
      <dgm:prSet phldrT="[Text]"/>
      <dgm:spPr/>
      <dgm:t>
        <a:bodyPr/>
        <a:lstStyle/>
        <a:p>
          <a:pPr algn="ctr"/>
          <a:r>
            <a:rPr lang="en-US" dirty="0"/>
            <a:t>NIC</a:t>
          </a:r>
        </a:p>
      </dgm:t>
    </dgm:pt>
    <dgm:pt modelId="{DBD7DC92-92C1-4B98-B2AB-F88644FF834B}" type="parTrans" cxnId="{82545694-BD06-4EFC-B563-969ABFBC06B5}">
      <dgm:prSet/>
      <dgm:spPr/>
      <dgm:t>
        <a:bodyPr/>
        <a:lstStyle/>
        <a:p>
          <a:endParaRPr lang="en-US"/>
        </a:p>
      </dgm:t>
    </dgm:pt>
    <dgm:pt modelId="{F08FE98B-1CA1-46A4-97E0-D3CF9B0A8EA1}" type="sibTrans" cxnId="{82545694-BD06-4EFC-B563-969ABFBC06B5}">
      <dgm:prSet/>
      <dgm:spPr/>
      <dgm:t>
        <a:bodyPr/>
        <a:lstStyle/>
        <a:p>
          <a:endParaRPr lang="en-US" dirty="0"/>
        </a:p>
      </dgm:t>
    </dgm:pt>
    <dgm:pt modelId="{B39F522C-8C7E-4F58-A5C5-2CD29FF07A73}">
      <dgm:prSet phldrT="[Text]"/>
      <dgm:spPr/>
      <dgm:t>
        <a:bodyPr/>
        <a:lstStyle/>
        <a:p>
          <a:pPr algn="ctr"/>
          <a:r>
            <a:rPr lang="en-US" dirty="0"/>
            <a:t>WHO CCs</a:t>
          </a:r>
        </a:p>
      </dgm:t>
    </dgm:pt>
    <dgm:pt modelId="{A6D5FB76-B104-4337-80EF-A2B3480F73EC}" type="parTrans" cxnId="{335F96D1-38F7-4FC3-A7A8-EAA944CBBE23}">
      <dgm:prSet/>
      <dgm:spPr/>
      <dgm:t>
        <a:bodyPr/>
        <a:lstStyle/>
        <a:p>
          <a:endParaRPr lang="en-US"/>
        </a:p>
      </dgm:t>
    </dgm:pt>
    <dgm:pt modelId="{9882C446-AFAC-4E5C-A3AB-7B9915041849}" type="sibTrans" cxnId="{335F96D1-38F7-4FC3-A7A8-EAA944CBBE23}">
      <dgm:prSet/>
      <dgm:spPr/>
      <dgm:t>
        <a:bodyPr/>
        <a:lstStyle/>
        <a:p>
          <a:endParaRPr lang="en-US" dirty="0"/>
        </a:p>
      </dgm:t>
    </dgm:pt>
    <dgm:pt modelId="{27FCB766-AAD8-48E0-BC45-D576D480C3EE}">
      <dgm:prSet phldrT="[Text]" custT="1"/>
      <dgm:spPr/>
      <dgm:t>
        <a:bodyPr/>
        <a:lstStyle/>
        <a:p>
          <a:r>
            <a:rPr lang="en-US" sz="1400" dirty="0"/>
            <a:t>WHO recommendation for composition of  annual influenza vaccine</a:t>
          </a:r>
        </a:p>
      </dgm:t>
    </dgm:pt>
    <dgm:pt modelId="{DA85683E-669F-4F6D-ACEA-F6846A397A8D}" type="parTrans" cxnId="{3CEE51FB-F768-40C5-A765-4151F3937FD9}">
      <dgm:prSet/>
      <dgm:spPr/>
      <dgm:t>
        <a:bodyPr/>
        <a:lstStyle/>
        <a:p>
          <a:endParaRPr lang="en-US"/>
        </a:p>
      </dgm:t>
    </dgm:pt>
    <dgm:pt modelId="{CA4C14EC-2F50-467F-8FFC-8CF7F9A1E388}" type="sibTrans" cxnId="{3CEE51FB-F768-40C5-A765-4151F3937FD9}">
      <dgm:prSet/>
      <dgm:spPr/>
      <dgm:t>
        <a:bodyPr/>
        <a:lstStyle/>
        <a:p>
          <a:endParaRPr lang="en-US"/>
        </a:p>
      </dgm:t>
    </dgm:pt>
    <dgm:pt modelId="{DF277F95-832F-4767-A8ED-738F9F89D641}">
      <dgm:prSet/>
      <dgm:spPr/>
      <dgm:t>
        <a:bodyPr/>
        <a:lstStyle/>
        <a:p>
          <a:pPr algn="ctr"/>
          <a:r>
            <a:rPr lang="en-US" dirty="0"/>
            <a:t>Collect influenza specimens</a:t>
          </a:r>
        </a:p>
      </dgm:t>
    </dgm:pt>
    <dgm:pt modelId="{2900C3FC-E2BF-4ACF-9DB4-A43F163DF655}" type="parTrans" cxnId="{A7D51E0C-AC4B-41A6-995D-2F96F9EA0B33}">
      <dgm:prSet/>
      <dgm:spPr/>
      <dgm:t>
        <a:bodyPr/>
        <a:lstStyle/>
        <a:p>
          <a:endParaRPr lang="en-US"/>
        </a:p>
      </dgm:t>
    </dgm:pt>
    <dgm:pt modelId="{AFE54223-7D32-428B-9400-CD7021185F3B}" type="sibTrans" cxnId="{A7D51E0C-AC4B-41A6-995D-2F96F9EA0B33}">
      <dgm:prSet/>
      <dgm:spPr/>
      <dgm:t>
        <a:bodyPr/>
        <a:lstStyle/>
        <a:p>
          <a:endParaRPr lang="en-US"/>
        </a:p>
      </dgm:t>
    </dgm:pt>
    <dgm:pt modelId="{FA5F391B-B01F-45DA-B85E-618EDC125900}">
      <dgm:prSet/>
      <dgm:spPr/>
      <dgm:t>
        <a:bodyPr/>
        <a:lstStyle/>
        <a:p>
          <a:pPr algn="ctr"/>
          <a:r>
            <a:rPr lang="en-US" dirty="0"/>
            <a:t>Preliminary analysis</a:t>
          </a:r>
        </a:p>
      </dgm:t>
    </dgm:pt>
    <dgm:pt modelId="{61DEB621-4CDB-427C-9973-F04AB007964B}" type="parTrans" cxnId="{2460E0D6-B01C-453C-A84E-4E63E788DE54}">
      <dgm:prSet/>
      <dgm:spPr/>
      <dgm:t>
        <a:bodyPr/>
        <a:lstStyle/>
        <a:p>
          <a:endParaRPr lang="en-US"/>
        </a:p>
      </dgm:t>
    </dgm:pt>
    <dgm:pt modelId="{1B73CE6E-88EF-4D93-8214-C19DC4C4BA3B}" type="sibTrans" cxnId="{2460E0D6-B01C-453C-A84E-4E63E788DE54}">
      <dgm:prSet/>
      <dgm:spPr/>
      <dgm:t>
        <a:bodyPr/>
        <a:lstStyle/>
        <a:p>
          <a:endParaRPr lang="en-US"/>
        </a:p>
      </dgm:t>
    </dgm:pt>
    <dgm:pt modelId="{622E1EF2-B19C-46AF-AAD3-4A29DFDA02DE}">
      <dgm:prSet/>
      <dgm:spPr/>
      <dgm:t>
        <a:bodyPr/>
        <a:lstStyle/>
        <a:p>
          <a:pPr algn="ctr"/>
          <a:r>
            <a:rPr lang="en-US" dirty="0"/>
            <a:t>Advanced antigenic and genetic analysis</a:t>
          </a:r>
        </a:p>
      </dgm:t>
    </dgm:pt>
    <dgm:pt modelId="{706FACD7-93F8-4F09-945B-DB92AD1F3AC4}" type="parTrans" cxnId="{E1CE0B7E-92E8-496F-B189-52CC81345092}">
      <dgm:prSet/>
      <dgm:spPr/>
      <dgm:t>
        <a:bodyPr/>
        <a:lstStyle/>
        <a:p>
          <a:endParaRPr lang="en-US"/>
        </a:p>
      </dgm:t>
    </dgm:pt>
    <dgm:pt modelId="{9A0F11EA-50A6-4737-BBA3-2CD5EDBA59DD}" type="sibTrans" cxnId="{E1CE0B7E-92E8-496F-B189-52CC81345092}">
      <dgm:prSet/>
      <dgm:spPr/>
      <dgm:t>
        <a:bodyPr/>
        <a:lstStyle/>
        <a:p>
          <a:endParaRPr lang="en-US"/>
        </a:p>
      </dgm:t>
    </dgm:pt>
    <dgm:pt modelId="{8FC3B0EC-CE80-4789-BEA1-08CBE0E25B9A}">
      <dgm:prSet/>
      <dgm:spPr/>
      <dgm:t>
        <a:bodyPr/>
        <a:lstStyle/>
        <a:p>
          <a:pPr algn="ctr"/>
          <a:r>
            <a:rPr lang="en-US" dirty="0"/>
            <a:t>National influenza reference lab</a:t>
          </a:r>
        </a:p>
      </dgm:t>
    </dgm:pt>
    <dgm:pt modelId="{FDCF3DA8-E525-4AEB-87B5-349A2920B178}" type="parTrans" cxnId="{407DDD63-BEDD-4CFA-900A-A3C2F14077D8}">
      <dgm:prSet/>
      <dgm:spPr/>
      <dgm:t>
        <a:bodyPr/>
        <a:lstStyle/>
        <a:p>
          <a:endParaRPr lang="en-US"/>
        </a:p>
      </dgm:t>
    </dgm:pt>
    <dgm:pt modelId="{E3C42590-DDB3-4589-887F-3FB00CD22B40}" type="sibTrans" cxnId="{407DDD63-BEDD-4CFA-900A-A3C2F14077D8}">
      <dgm:prSet/>
      <dgm:spPr/>
      <dgm:t>
        <a:bodyPr/>
        <a:lstStyle/>
        <a:p>
          <a:endParaRPr lang="en-US"/>
        </a:p>
      </dgm:t>
    </dgm:pt>
    <dgm:pt modelId="{D407CC45-D389-4535-B105-FEB693D73339}" type="pres">
      <dgm:prSet presAssocID="{41B5C477-2928-4FDD-8B24-893DCE8E5166}" presName="Name0" presStyleCnt="0">
        <dgm:presLayoutVars>
          <dgm:dir/>
          <dgm:resizeHandles val="exact"/>
        </dgm:presLayoutVars>
      </dgm:prSet>
      <dgm:spPr/>
    </dgm:pt>
    <dgm:pt modelId="{21952029-14AE-4F13-B7A8-EB087760910F}" type="pres">
      <dgm:prSet presAssocID="{1F792FFA-4515-406C-AC26-12E37E2A98F5}" presName="node" presStyleLbl="node1" presStyleIdx="0" presStyleCnt="3" custScaleX="113063">
        <dgm:presLayoutVars>
          <dgm:bulletEnabled val="1"/>
        </dgm:presLayoutVars>
      </dgm:prSet>
      <dgm:spPr/>
    </dgm:pt>
    <dgm:pt modelId="{CBA8762E-09EB-40F1-8F52-9B8132BC2EDB}" type="pres">
      <dgm:prSet presAssocID="{F08FE98B-1CA1-46A4-97E0-D3CF9B0A8EA1}" presName="sibTrans" presStyleLbl="sibTrans2D1" presStyleIdx="0" presStyleCnt="2" custScaleX="129883"/>
      <dgm:spPr/>
    </dgm:pt>
    <dgm:pt modelId="{A18EC946-13FC-47B0-B48C-98241A178BE1}" type="pres">
      <dgm:prSet presAssocID="{F08FE98B-1CA1-46A4-97E0-D3CF9B0A8EA1}" presName="connectorText" presStyleLbl="sibTrans2D1" presStyleIdx="0" presStyleCnt="2"/>
      <dgm:spPr/>
    </dgm:pt>
    <dgm:pt modelId="{EBD781D6-867E-4202-8556-969FA37AA364}" type="pres">
      <dgm:prSet presAssocID="{B39F522C-8C7E-4F58-A5C5-2CD29FF07A73}" presName="node" presStyleLbl="node1" presStyleIdx="1" presStyleCnt="3">
        <dgm:presLayoutVars>
          <dgm:bulletEnabled val="1"/>
        </dgm:presLayoutVars>
      </dgm:prSet>
      <dgm:spPr/>
    </dgm:pt>
    <dgm:pt modelId="{797799C0-F769-40F8-B9FE-5858AB9A0E2D}" type="pres">
      <dgm:prSet presAssocID="{9882C446-AFAC-4E5C-A3AB-7B9915041849}" presName="sibTrans" presStyleLbl="sibTrans2D1" presStyleIdx="1" presStyleCnt="2" custScaleX="128410"/>
      <dgm:spPr/>
    </dgm:pt>
    <dgm:pt modelId="{473C0638-6E72-4851-9F9D-06CC5FDB8814}" type="pres">
      <dgm:prSet presAssocID="{9882C446-AFAC-4E5C-A3AB-7B9915041849}" presName="connectorText" presStyleLbl="sibTrans2D1" presStyleIdx="1" presStyleCnt="2"/>
      <dgm:spPr/>
    </dgm:pt>
    <dgm:pt modelId="{6A0A9D8F-3BC9-45AA-B504-5D2CF48E1BEE}" type="pres">
      <dgm:prSet presAssocID="{27FCB766-AAD8-48E0-BC45-D576D480C3EE}" presName="node" presStyleLbl="node1" presStyleIdx="2" presStyleCnt="3">
        <dgm:presLayoutVars>
          <dgm:bulletEnabled val="1"/>
        </dgm:presLayoutVars>
      </dgm:prSet>
      <dgm:spPr/>
    </dgm:pt>
  </dgm:ptLst>
  <dgm:cxnLst>
    <dgm:cxn modelId="{A7D51E0C-AC4B-41A6-995D-2F96F9EA0B33}" srcId="{1F792FFA-4515-406C-AC26-12E37E2A98F5}" destId="{DF277F95-832F-4767-A8ED-738F9F89D641}" srcOrd="1" destOrd="0" parTransId="{2900C3FC-E2BF-4ACF-9DB4-A43F163DF655}" sibTransId="{AFE54223-7D32-428B-9400-CD7021185F3B}"/>
    <dgm:cxn modelId="{6503F50D-FAC2-42F2-B3F4-74D5D3F0C299}" type="presOf" srcId="{9882C446-AFAC-4E5C-A3AB-7B9915041849}" destId="{797799C0-F769-40F8-B9FE-5858AB9A0E2D}" srcOrd="0" destOrd="0" presId="urn:microsoft.com/office/officeart/2005/8/layout/process1"/>
    <dgm:cxn modelId="{1C134F11-5BB5-41BD-B05F-282FC4F1B02B}" type="presOf" srcId="{27FCB766-AAD8-48E0-BC45-D576D480C3EE}" destId="{6A0A9D8F-3BC9-45AA-B504-5D2CF48E1BEE}" srcOrd="0" destOrd="0" presId="urn:microsoft.com/office/officeart/2005/8/layout/process1"/>
    <dgm:cxn modelId="{57F3D032-5E44-4E41-AF96-FAD4362C58E2}" type="presOf" srcId="{9882C446-AFAC-4E5C-A3AB-7B9915041849}" destId="{473C0638-6E72-4851-9F9D-06CC5FDB8814}" srcOrd="1" destOrd="0" presId="urn:microsoft.com/office/officeart/2005/8/layout/process1"/>
    <dgm:cxn modelId="{11261739-649A-43F5-B65C-B0135187E506}" type="presOf" srcId="{8FC3B0EC-CE80-4789-BEA1-08CBE0E25B9A}" destId="{21952029-14AE-4F13-B7A8-EB087760910F}" srcOrd="0" destOrd="1" presId="urn:microsoft.com/office/officeart/2005/8/layout/process1"/>
    <dgm:cxn modelId="{2E3DDA3C-B446-4258-B372-CD7DF9B7B8B4}" type="presOf" srcId="{FA5F391B-B01F-45DA-B85E-618EDC125900}" destId="{21952029-14AE-4F13-B7A8-EB087760910F}" srcOrd="0" destOrd="3" presId="urn:microsoft.com/office/officeart/2005/8/layout/process1"/>
    <dgm:cxn modelId="{407DDD63-BEDD-4CFA-900A-A3C2F14077D8}" srcId="{1F792FFA-4515-406C-AC26-12E37E2A98F5}" destId="{8FC3B0EC-CE80-4789-BEA1-08CBE0E25B9A}" srcOrd="0" destOrd="0" parTransId="{FDCF3DA8-E525-4AEB-87B5-349A2920B178}" sibTransId="{E3C42590-DDB3-4589-887F-3FB00CD22B40}"/>
    <dgm:cxn modelId="{E943A748-E7B0-4047-B518-152CB99F172F}" type="presOf" srcId="{F08FE98B-1CA1-46A4-97E0-D3CF9B0A8EA1}" destId="{A18EC946-13FC-47B0-B48C-98241A178BE1}" srcOrd="1" destOrd="0" presId="urn:microsoft.com/office/officeart/2005/8/layout/process1"/>
    <dgm:cxn modelId="{1E1DAA79-4E4B-4C6B-B216-E9E9CE283404}" type="presOf" srcId="{DF277F95-832F-4767-A8ED-738F9F89D641}" destId="{21952029-14AE-4F13-B7A8-EB087760910F}" srcOrd="0" destOrd="2" presId="urn:microsoft.com/office/officeart/2005/8/layout/process1"/>
    <dgm:cxn modelId="{E1CE0B7E-92E8-496F-B189-52CC81345092}" srcId="{B39F522C-8C7E-4F58-A5C5-2CD29FF07A73}" destId="{622E1EF2-B19C-46AF-AAD3-4A29DFDA02DE}" srcOrd="0" destOrd="0" parTransId="{706FACD7-93F8-4F09-945B-DB92AD1F3AC4}" sibTransId="{9A0F11EA-50A6-4737-BBA3-2CD5EDBA59DD}"/>
    <dgm:cxn modelId="{3075ED81-32BC-420B-86F7-D689C47A3799}" type="presOf" srcId="{622E1EF2-B19C-46AF-AAD3-4A29DFDA02DE}" destId="{EBD781D6-867E-4202-8556-969FA37AA364}" srcOrd="0" destOrd="1" presId="urn:microsoft.com/office/officeart/2005/8/layout/process1"/>
    <dgm:cxn modelId="{82545694-BD06-4EFC-B563-969ABFBC06B5}" srcId="{41B5C477-2928-4FDD-8B24-893DCE8E5166}" destId="{1F792FFA-4515-406C-AC26-12E37E2A98F5}" srcOrd="0" destOrd="0" parTransId="{DBD7DC92-92C1-4B98-B2AB-F88644FF834B}" sibTransId="{F08FE98B-1CA1-46A4-97E0-D3CF9B0A8EA1}"/>
    <dgm:cxn modelId="{97F8D8B0-A901-49C5-B29D-082ECF9549E7}" type="presOf" srcId="{41B5C477-2928-4FDD-8B24-893DCE8E5166}" destId="{D407CC45-D389-4535-B105-FEB693D73339}" srcOrd="0" destOrd="0" presId="urn:microsoft.com/office/officeart/2005/8/layout/process1"/>
    <dgm:cxn modelId="{BE579DC6-7D2C-4183-9627-60B995D6B509}" type="presOf" srcId="{F08FE98B-1CA1-46A4-97E0-D3CF9B0A8EA1}" destId="{CBA8762E-09EB-40F1-8F52-9B8132BC2EDB}" srcOrd="0" destOrd="0" presId="urn:microsoft.com/office/officeart/2005/8/layout/process1"/>
    <dgm:cxn modelId="{AFF109CE-4D0E-4401-8830-42DDA6291F8C}" type="presOf" srcId="{B39F522C-8C7E-4F58-A5C5-2CD29FF07A73}" destId="{EBD781D6-867E-4202-8556-969FA37AA364}" srcOrd="0" destOrd="0" presId="urn:microsoft.com/office/officeart/2005/8/layout/process1"/>
    <dgm:cxn modelId="{335F96D1-38F7-4FC3-A7A8-EAA944CBBE23}" srcId="{41B5C477-2928-4FDD-8B24-893DCE8E5166}" destId="{B39F522C-8C7E-4F58-A5C5-2CD29FF07A73}" srcOrd="1" destOrd="0" parTransId="{A6D5FB76-B104-4337-80EF-A2B3480F73EC}" sibTransId="{9882C446-AFAC-4E5C-A3AB-7B9915041849}"/>
    <dgm:cxn modelId="{2460E0D6-B01C-453C-A84E-4E63E788DE54}" srcId="{1F792FFA-4515-406C-AC26-12E37E2A98F5}" destId="{FA5F391B-B01F-45DA-B85E-618EDC125900}" srcOrd="2" destOrd="0" parTransId="{61DEB621-4CDB-427C-9973-F04AB007964B}" sibTransId="{1B73CE6E-88EF-4D93-8214-C19DC4C4BA3B}"/>
    <dgm:cxn modelId="{B14043EA-EF74-42FA-B561-E134C8B60894}" type="presOf" srcId="{1F792FFA-4515-406C-AC26-12E37E2A98F5}" destId="{21952029-14AE-4F13-B7A8-EB087760910F}" srcOrd="0" destOrd="0" presId="urn:microsoft.com/office/officeart/2005/8/layout/process1"/>
    <dgm:cxn modelId="{3CEE51FB-F768-40C5-A765-4151F3937FD9}" srcId="{41B5C477-2928-4FDD-8B24-893DCE8E5166}" destId="{27FCB766-AAD8-48E0-BC45-D576D480C3EE}" srcOrd="2" destOrd="0" parTransId="{DA85683E-669F-4F6D-ACEA-F6846A397A8D}" sibTransId="{CA4C14EC-2F50-467F-8FFC-8CF7F9A1E388}"/>
    <dgm:cxn modelId="{1108B5E9-D9CA-452B-B5DD-69AAA1B739F5}" type="presParOf" srcId="{D407CC45-D389-4535-B105-FEB693D73339}" destId="{21952029-14AE-4F13-B7A8-EB087760910F}" srcOrd="0" destOrd="0" presId="urn:microsoft.com/office/officeart/2005/8/layout/process1"/>
    <dgm:cxn modelId="{A0A67682-B8D5-4067-A401-DC5F48D304A1}" type="presParOf" srcId="{D407CC45-D389-4535-B105-FEB693D73339}" destId="{CBA8762E-09EB-40F1-8F52-9B8132BC2EDB}" srcOrd="1" destOrd="0" presId="urn:microsoft.com/office/officeart/2005/8/layout/process1"/>
    <dgm:cxn modelId="{1F2354C8-3304-418F-B964-5C81305765DA}" type="presParOf" srcId="{CBA8762E-09EB-40F1-8F52-9B8132BC2EDB}" destId="{A18EC946-13FC-47B0-B48C-98241A178BE1}" srcOrd="0" destOrd="0" presId="urn:microsoft.com/office/officeart/2005/8/layout/process1"/>
    <dgm:cxn modelId="{6AF0D926-3EB6-4AF0-9928-30272FCD6D99}" type="presParOf" srcId="{D407CC45-D389-4535-B105-FEB693D73339}" destId="{EBD781D6-867E-4202-8556-969FA37AA364}" srcOrd="2" destOrd="0" presId="urn:microsoft.com/office/officeart/2005/8/layout/process1"/>
    <dgm:cxn modelId="{9A4DD1C2-D9C7-4753-949A-2A59B66B3804}" type="presParOf" srcId="{D407CC45-D389-4535-B105-FEB693D73339}" destId="{797799C0-F769-40F8-B9FE-5858AB9A0E2D}" srcOrd="3" destOrd="0" presId="urn:microsoft.com/office/officeart/2005/8/layout/process1"/>
    <dgm:cxn modelId="{6A9DFC75-CA9C-4610-B401-84EC508960D5}" type="presParOf" srcId="{797799C0-F769-40F8-B9FE-5858AB9A0E2D}" destId="{473C0638-6E72-4851-9F9D-06CC5FDB8814}" srcOrd="0" destOrd="0" presId="urn:microsoft.com/office/officeart/2005/8/layout/process1"/>
    <dgm:cxn modelId="{A8D84316-A794-48DD-A37D-E31B35B1C863}" type="presParOf" srcId="{D407CC45-D389-4535-B105-FEB693D73339}" destId="{6A0A9D8F-3BC9-45AA-B504-5D2CF48E1BEE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952029-14AE-4F13-B7A8-EB087760910F}">
      <dsp:nvSpPr>
        <dsp:cNvPr id="0" name=""/>
        <dsp:cNvSpPr/>
      </dsp:nvSpPr>
      <dsp:spPr>
        <a:xfrm>
          <a:off x="286" y="0"/>
          <a:ext cx="2379600" cy="101522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IC</a:t>
          </a:r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National influenza reference lab</a:t>
          </a:r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Collect influenza specimens</a:t>
          </a:r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Preliminary analysis</a:t>
          </a:r>
        </a:p>
      </dsp:txBody>
      <dsp:txXfrm>
        <a:off x="30021" y="29735"/>
        <a:ext cx="2320130" cy="955754"/>
      </dsp:txXfrm>
    </dsp:sp>
    <dsp:sp modelId="{CBA8762E-09EB-40F1-8F52-9B8132BC2EDB}">
      <dsp:nvSpPr>
        <dsp:cNvPr id="0" name=""/>
        <dsp:cNvSpPr/>
      </dsp:nvSpPr>
      <dsp:spPr>
        <a:xfrm>
          <a:off x="2523685" y="246633"/>
          <a:ext cx="579524" cy="52195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2523685" y="351024"/>
        <a:ext cx="422937" cy="313175"/>
      </dsp:txXfrm>
    </dsp:sp>
    <dsp:sp modelId="{EBD781D6-867E-4202-8556-969FA37AA364}">
      <dsp:nvSpPr>
        <dsp:cNvPr id="0" name=""/>
        <dsp:cNvSpPr/>
      </dsp:nvSpPr>
      <dsp:spPr>
        <a:xfrm>
          <a:off x="3221753" y="0"/>
          <a:ext cx="2104667" cy="101522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HO CCs</a:t>
          </a:r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Advanced antigenic and genetic analysis</a:t>
          </a:r>
        </a:p>
      </dsp:txBody>
      <dsp:txXfrm>
        <a:off x="3251488" y="29735"/>
        <a:ext cx="2045197" cy="955754"/>
      </dsp:txXfrm>
    </dsp:sp>
    <dsp:sp modelId="{797799C0-F769-40F8-B9FE-5858AB9A0E2D}">
      <dsp:nvSpPr>
        <dsp:cNvPr id="0" name=""/>
        <dsp:cNvSpPr/>
      </dsp:nvSpPr>
      <dsp:spPr>
        <a:xfrm>
          <a:off x="5473506" y="246633"/>
          <a:ext cx="572951" cy="52195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5473506" y="351024"/>
        <a:ext cx="416364" cy="313175"/>
      </dsp:txXfrm>
    </dsp:sp>
    <dsp:sp modelId="{6A0A9D8F-3BC9-45AA-B504-5D2CF48E1BEE}">
      <dsp:nvSpPr>
        <dsp:cNvPr id="0" name=""/>
        <dsp:cNvSpPr/>
      </dsp:nvSpPr>
      <dsp:spPr>
        <a:xfrm>
          <a:off x="6168288" y="0"/>
          <a:ext cx="2104667" cy="101522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HO recommendation for composition of  annual influenza vaccine</a:t>
          </a:r>
        </a:p>
      </dsp:txBody>
      <dsp:txXfrm>
        <a:off x="6198023" y="29735"/>
        <a:ext cx="2045197" cy="9557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418D38-4BAC-4B00-AB9E-65C36BD0787F}" type="datetimeFigureOut">
              <a:rPr lang="en-GB" smtClean="0"/>
              <a:t>05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75943-8682-4FFF-8CF8-13F6663D53D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0559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9946A-C089-429D-94ED-7B16AAB29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101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 chosen because vaccine and </a:t>
            </a:r>
            <a:r>
              <a:rPr lang="en-US" dirty="0" err="1"/>
              <a:t>mAb</a:t>
            </a:r>
            <a:r>
              <a:rPr lang="en-US" dirty="0"/>
              <a:t> target – most conserved</a:t>
            </a:r>
          </a:p>
          <a:p>
            <a:r>
              <a:rPr lang="en-US" dirty="0"/>
              <a:t>Vaccine in stage III trials</a:t>
            </a:r>
          </a:p>
          <a:p>
            <a:r>
              <a:rPr lang="en-US" dirty="0"/>
              <a:t>Important to monitor to see if circulating strains are likely to be affected/escape</a:t>
            </a:r>
          </a:p>
          <a:p>
            <a:r>
              <a:rPr lang="en-US" dirty="0"/>
              <a:t>Learned from covid – track mutations and mutation prevalence, especially in NB functional regions</a:t>
            </a:r>
          </a:p>
          <a:p>
            <a:r>
              <a:rPr lang="en-US" dirty="0"/>
              <a:t>276 and 377 shown to change between seas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675943-8682-4FFF-8CF8-13F6663D53D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708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ZA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75300E-4EF7-4DDE-A8BE-03CA5D96D12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63946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Four</a:t>
            </a:r>
            <a:r>
              <a:rPr lang="en-ZA" baseline="0" dirty="0"/>
              <a:t> pandemics in past 100 year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675943-8682-4FFF-8CF8-13F6663D53DA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196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675943-8682-4FFF-8CF8-13F6663D53D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65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939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226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154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31741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91884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061987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31390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95959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90661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48756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79809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3683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807101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594964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97541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120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1642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3473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9219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54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3452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8346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7120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4902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9601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2817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4881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0300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6681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548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0752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8367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601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7823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2571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2347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6339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1149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155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44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307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958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689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783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14EBC-22F6-4F02-80EC-18353FA9F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5071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6374C0-E977-482B-85C8-7AD7F4D9F66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240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D635B8-CC7A-480F-B1D2-875B199489F1}" type="datetimeFigureOut">
              <a:rPr lang="en-ZA" smtClean="0"/>
              <a:t>2025/09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1D79D-D793-4A36-8F1B-57D9DDC6963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15705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14EBC-22F6-4F02-80EC-18353FA9F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B414EBC-22F6-4F02-80EC-18353FA9F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6374C0-E977-482B-85C8-7AD7F4D9F66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2400E-4B41-6B44-9C66-FDAFA42533A3}" type="datetimeFigureOut">
              <a:rPr lang="en-US" smtClean="0"/>
              <a:t>9/5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760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4AA004-5EE8-44E3-B40E-EE7004D0369A}" type="datetimeFigureOut">
              <a:rPr lang="en-US" smtClean="0"/>
              <a:t>9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EB048B-AC53-435A-8FA8-405A71163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105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gisaid.org/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5" Type="http://schemas.openxmlformats.org/officeDocument/2006/relationships/hyperlink" Target="https://www.woah.org/en/disease/avian-influenza/" TargetMode="External"/><Relationship Id="rId4" Type="http://schemas.openxmlformats.org/officeDocument/2006/relationships/hyperlink" Target="https://www.cdc.gov/flu/avianflu/index.ht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o.int/initiatives/global-influenza-surveillance-and-response-system" TargetMode="External"/><Relationship Id="rId3" Type="http://schemas.openxmlformats.org/officeDocument/2006/relationships/diagramLayout" Target="../diagrams/layout1.xml"/><Relationship Id="rId7" Type="http://schemas.openxmlformats.org/officeDocument/2006/relationships/image" Target="../media/image5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gif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www.who.int/publications/i/item/9789240101432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0281" y="1463457"/>
            <a:ext cx="8576442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700" b="1" dirty="0">
              <a:solidFill>
                <a:srgbClr val="A6CE39"/>
              </a:solidFill>
              <a:latin typeface="+mj-lt"/>
            </a:endParaRPr>
          </a:p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ational Influenza Centre – South Africa</a:t>
            </a: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spiratory Virus Genomics Workshop</a:t>
            </a:r>
          </a:p>
          <a:p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8 September 2025</a:t>
            </a:r>
          </a:p>
          <a:p>
            <a:r>
              <a:rPr lang="en-GB" sz="1200" b="1" dirty="0">
                <a:solidFill>
                  <a:srgbClr val="A6CE39"/>
                </a:solidFill>
                <a:latin typeface="+mj-lt"/>
              </a:rPr>
              <a:t>Centre for Respiratory Diseases and Meningitis</a:t>
            </a:r>
          </a:p>
          <a:p>
            <a:r>
              <a:rPr lang="en-GB" sz="1200" b="1" dirty="0">
                <a:solidFill>
                  <a:srgbClr val="A6CE39"/>
                </a:solidFill>
                <a:latin typeface="+mj-lt"/>
              </a:rPr>
              <a:t>National Institute for Communicable Diseases </a:t>
            </a:r>
          </a:p>
          <a:p>
            <a:r>
              <a:rPr lang="en-GB" sz="1200" b="1" dirty="0">
                <a:solidFill>
                  <a:srgbClr val="A6CE39"/>
                </a:solidFill>
                <a:latin typeface="+mj-lt"/>
              </a:rPr>
              <a:t>of the National Health Laboratory Service</a:t>
            </a:r>
          </a:p>
          <a:p>
            <a:endParaRPr lang="en-GB" sz="1200" b="1" dirty="0">
              <a:solidFill>
                <a:srgbClr val="A6CE39"/>
              </a:solidFill>
              <a:latin typeface="+mj-lt"/>
            </a:endParaRPr>
          </a:p>
          <a:p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cole Wolter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5" name="Picture 2" descr="What is Influenza?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5094" y="2570894"/>
            <a:ext cx="2132905" cy="1422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074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620"/>
    </mc:Choice>
    <mc:Fallback xmlns="">
      <p:transition spd="slow" advTm="3362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Genetic characteris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6172039" y="4637669"/>
            <a:ext cx="308327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irepertoire.com/ngs-overview-from-sample-to-sequencer-to-results/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8233" y="2451158"/>
            <a:ext cx="2305463" cy="975645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5301379" y="2996272"/>
            <a:ext cx="49298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584420" y="980529"/>
            <a:ext cx="82574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 changes in the genome of circulating virus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 of vaccines and antiviral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12" descr="A diagram of a diagram&#10;&#10;AI-generated content may be incorrect.">
            <a:extLst>
              <a:ext uri="{FF2B5EF4-FFF2-40B4-BE49-F238E27FC236}">
                <a16:creationId xmlns:a16="http://schemas.microsoft.com/office/drawing/2014/main" id="{6AB820FB-8A23-B32D-9462-25EFA707D2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4" t="-1028"/>
          <a:stretch>
            <a:fillRect/>
          </a:stretch>
        </p:blipFill>
        <p:spPr bwMode="auto">
          <a:xfrm>
            <a:off x="108147" y="1755387"/>
            <a:ext cx="5115860" cy="325713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56596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0351" r="1712"/>
          <a:stretch/>
        </p:blipFill>
        <p:spPr>
          <a:xfrm>
            <a:off x="4953129" y="1385769"/>
            <a:ext cx="4074057" cy="237132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10816" t="44610" r="40590" b="14348"/>
          <a:stretch/>
        </p:blipFill>
        <p:spPr>
          <a:xfrm>
            <a:off x="0" y="1385769"/>
            <a:ext cx="4804012" cy="228230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009978" y="2877427"/>
            <a:ext cx="2161921" cy="12192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84640" y="2777625"/>
            <a:ext cx="2133372" cy="9980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09978" y="2119679"/>
            <a:ext cx="1984499" cy="1219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4640" y="2085900"/>
            <a:ext cx="1935480" cy="1219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6526" y="432575"/>
            <a:ext cx="3169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 Vaccine Formul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82540" y="434340"/>
            <a:ext cx="3169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5 Vaccine Formulation</a:t>
            </a:r>
          </a:p>
        </p:txBody>
      </p:sp>
    </p:spTree>
    <p:extLst>
      <p:ext uri="{BB962C8B-B14F-4D97-AF65-F5344CB8AC3E}">
        <p14:creationId xmlns:p14="http://schemas.microsoft.com/office/powerpoint/2010/main" val="4270042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87475B-F8DB-46EC-8428-91D9D0256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AD149DF-BC2C-AE2C-B3D7-A62A3AD15E82}"/>
              </a:ext>
            </a:extLst>
          </p:cNvPr>
          <p:cNvSpPr txBox="1"/>
          <p:nvPr/>
        </p:nvSpPr>
        <p:spPr>
          <a:xfrm>
            <a:off x="3997569" y="0"/>
            <a:ext cx="24238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RSV - 2025</a:t>
            </a:r>
            <a:endParaRPr lang="en-ZA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98DA70-07DA-2991-6FEB-50C197173E1A}"/>
              </a:ext>
            </a:extLst>
          </p:cNvPr>
          <p:cNvSpPr txBox="1"/>
          <p:nvPr/>
        </p:nvSpPr>
        <p:spPr>
          <a:xfrm>
            <a:off x="0" y="528028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VW</a:t>
            </a:r>
            <a:endParaRPr lang="en-ZA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268713-0AD0-14AA-6365-2D7C82CEE08C}"/>
              </a:ext>
            </a:extLst>
          </p:cNvPr>
          <p:cNvSpPr txBox="1"/>
          <p:nvPr/>
        </p:nvSpPr>
        <p:spPr>
          <a:xfrm>
            <a:off x="0" y="2090777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ILI</a:t>
            </a:r>
            <a:endParaRPr lang="en-ZA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38748F-DC65-B8A0-3570-F9E4137A87D2}"/>
              </a:ext>
            </a:extLst>
          </p:cNvPr>
          <p:cNvSpPr txBox="1"/>
          <p:nvPr/>
        </p:nvSpPr>
        <p:spPr>
          <a:xfrm>
            <a:off x="0" y="3543307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SRI</a:t>
            </a:r>
            <a:endParaRPr lang="en-ZA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0B6F58-D8EF-0A8C-C394-99047249665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87"/>
          <a:stretch>
            <a:fillRect/>
          </a:stretch>
        </p:blipFill>
        <p:spPr>
          <a:xfrm>
            <a:off x="3022321" y="3054795"/>
            <a:ext cx="2684363" cy="18203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E2013FC-9B4F-D559-6A3C-D2CA530AAAF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48900" b="3691"/>
          <a:stretch>
            <a:fillRect/>
          </a:stretch>
        </p:blipFill>
        <p:spPr bwMode="auto">
          <a:xfrm>
            <a:off x="747345" y="357439"/>
            <a:ext cx="2052126" cy="4768436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339158-C924-D3D8-97A6-AD0D23E461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9534" y="938393"/>
            <a:ext cx="2955122" cy="34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302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869" y="388126"/>
            <a:ext cx="8140262" cy="682221"/>
          </a:xfrm>
        </p:spPr>
        <p:txBody>
          <a:bodyPr>
            <a:normAutofit fontScale="90000"/>
          </a:bodyPr>
          <a:lstStyle/>
          <a:p>
            <a:r>
              <a:rPr lang="en-US" sz="2400" dirty="0"/>
              <a:t>RSV F amino acid substitutions in South Africa (2021, 2023) – relative to GISAID reference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5032B5-A7DB-E148-A4A2-BF4EA3A98389}"/>
              </a:ext>
            </a:extLst>
          </p:cNvPr>
          <p:cNvSpPr txBox="1"/>
          <p:nvPr/>
        </p:nvSpPr>
        <p:spPr>
          <a:xfrm>
            <a:off x="0" y="1693001"/>
            <a:ext cx="38039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 gene: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many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ccine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oclonal antibodie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conserved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x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tigenic site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Ø, I – V) identified – </a:t>
            </a: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 mutations 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these sit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own here: mutations with ≥ 10% prevalence in RSV-A in our data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ture functional studies to confirm the impact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0E1403-5D43-F4E6-4350-54D8900F6E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151"/>
          <a:stretch/>
        </p:blipFill>
        <p:spPr>
          <a:xfrm>
            <a:off x="3583449" y="1129914"/>
            <a:ext cx="5558567" cy="312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093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CDCA0EC-6EB2-958D-FCE3-E1045075FECF}"/>
              </a:ext>
            </a:extLst>
          </p:cNvPr>
          <p:cNvSpPr txBox="1">
            <a:spLocks/>
          </p:cNvSpPr>
          <p:nvPr/>
        </p:nvSpPr>
        <p:spPr>
          <a:xfrm>
            <a:off x="91998" y="4098073"/>
            <a:ext cx="8965582" cy="878159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Frequency of amino acid substitutions in the F protein of South African RSV-A and strains shown by year. Each row represents a year (2021-2024). Amino acid changes are coloured by the antigenic site or structural feature in which they occur. Bars represent prevalence of the substitutions relative to the </a:t>
            </a:r>
            <a:r>
              <a:rPr kumimoji="0" lang="en-GB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RefSeq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reference NC_038235_1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E565E30-0E52-EAF9-5BE8-CDFDD85B2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51" y="343048"/>
            <a:ext cx="8965581" cy="803108"/>
          </a:xfrm>
          <a:ln w="28575">
            <a:noFill/>
          </a:ln>
        </p:spPr>
        <p:txBody>
          <a:bodyPr>
            <a:noAutofit/>
          </a:bodyPr>
          <a:lstStyle/>
          <a:p>
            <a:pPr algn="ctr"/>
            <a:r>
              <a:rPr lang="en-ZA" sz="2400" dirty="0"/>
              <a:t>F amino acid substitutions detected in RSV-A sequences over time (2021-2024)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E288CCF-6BEC-BD9A-1444-1E1A320C09C3}"/>
              </a:ext>
            </a:extLst>
          </p:cNvPr>
          <p:cNvGrpSpPr/>
          <p:nvPr/>
        </p:nvGrpSpPr>
        <p:grpSpPr>
          <a:xfrm>
            <a:off x="89209" y="1219427"/>
            <a:ext cx="8965581" cy="2884895"/>
            <a:chOff x="89209" y="1219427"/>
            <a:chExt cx="8965581" cy="288489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280C30E-0591-CCD9-82F9-CF57BE1361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209" y="1219427"/>
              <a:ext cx="8965581" cy="2878646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E75DCC2-C1B5-0B56-EF6D-FF8CAC60F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4145" y="2211866"/>
              <a:ext cx="138962" cy="127382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166CF8A-805D-5FEA-F7D1-DEB43B5B0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4145" y="2804253"/>
              <a:ext cx="138962" cy="127382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FB907E7-553C-C2B2-E418-50C6B8727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4145" y="3378304"/>
              <a:ext cx="138962" cy="12738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3A6B516-C9DA-17FE-40AD-F9EDC2B2D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45913" y="2804253"/>
              <a:ext cx="224970" cy="135575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5E65012-BC2B-9555-E36B-61E625AFF8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57478" y="3386499"/>
              <a:ext cx="147900" cy="13557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703850A-D2EE-5532-CD03-605AF4BFC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57478" y="3968746"/>
              <a:ext cx="147900" cy="13557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9DDD104-8E59-1342-4B72-641759FF2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07596" y="3962497"/>
              <a:ext cx="148488" cy="13557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A184F96-FF9D-37A2-2C8F-370C9FF26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02500" y="2793778"/>
              <a:ext cx="146050" cy="146050"/>
            </a:xfrm>
            <a:prstGeom prst="rect">
              <a:avLst/>
            </a:prstGeom>
          </p:spPr>
        </p:pic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E195894F-49FE-DF27-58FB-52FC617436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8416" y="2804253"/>
            <a:ext cx="89253" cy="1460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9A0FD8-4EC1-1F53-552B-8788BD4907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8416" y="3396640"/>
            <a:ext cx="89253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5021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11D8A-6E4E-2B35-537E-FE9675F5D4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42FBBBD-05EA-58A9-3167-0BD687A992EC}"/>
              </a:ext>
            </a:extLst>
          </p:cNvPr>
          <p:cNvSpPr txBox="1"/>
          <p:nvPr/>
        </p:nvSpPr>
        <p:spPr>
          <a:xfrm>
            <a:off x="3453618" y="0"/>
            <a:ext cx="2967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SARS-CoV-2 - 2025</a:t>
            </a:r>
            <a:endParaRPr lang="en-ZA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F8F352-04D2-5857-965A-769DD2F50917}"/>
              </a:ext>
            </a:extLst>
          </p:cNvPr>
          <p:cNvSpPr txBox="1"/>
          <p:nvPr/>
        </p:nvSpPr>
        <p:spPr>
          <a:xfrm>
            <a:off x="-35309" y="691041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ILI</a:t>
            </a:r>
            <a:endParaRPr lang="en-ZA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A98B99-8604-F95E-3184-514EBE8BEEE9}"/>
              </a:ext>
            </a:extLst>
          </p:cNvPr>
          <p:cNvSpPr txBox="1"/>
          <p:nvPr/>
        </p:nvSpPr>
        <p:spPr>
          <a:xfrm>
            <a:off x="-52963" y="2233196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SRI</a:t>
            </a:r>
            <a:endParaRPr lang="en-ZA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A99D2E0-E899-6223-D2FA-2D47D4D1AB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00119" y="691041"/>
            <a:ext cx="5803923" cy="3895784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8640C9-7506-E771-A0DC-97CD4E4E2677}"/>
              </a:ext>
            </a:extLst>
          </p:cNvPr>
          <p:cNvSpPr txBox="1"/>
          <p:nvPr/>
        </p:nvSpPr>
        <p:spPr>
          <a:xfrm>
            <a:off x="3011795" y="572931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VW</a:t>
            </a:r>
            <a:endParaRPr lang="en-ZA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D5560F-3191-A45D-6FDE-2F2D8E5EC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4441874" y="2297044"/>
            <a:ext cx="4216791" cy="25993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694643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0" y="11743"/>
            <a:ext cx="9144000" cy="499091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/>
            <a:r>
              <a:rPr lang="en-ZA" sz="2400" b="1" dirty="0"/>
              <a:t>Weekly data reporting nationally and to World Health Organizatio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D21CBC-FCA1-42DB-8408-B16AF84AEB3E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9546" y="3950956"/>
            <a:ext cx="35223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nicd.ac.za/diseases-a-z-index/disease-index-covid-19/surveillance-reports/weekly-respiratory-pathogens-surveillance-report-week/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28007" t="15328" r="32091" b="26549"/>
          <a:stretch/>
        </p:blipFill>
        <p:spPr>
          <a:xfrm>
            <a:off x="149546" y="781517"/>
            <a:ext cx="3599350" cy="29491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30375" t="2319" r="30572" b="-1590"/>
          <a:stretch/>
        </p:blipFill>
        <p:spPr>
          <a:xfrm>
            <a:off x="3901527" y="599020"/>
            <a:ext cx="2702394" cy="3864094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503934" y="4551300"/>
            <a:ext cx="34975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who.int/tools/flunet/flunet-summ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7E62DE-7547-D2D7-2521-09EFC47462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7015" y="2022026"/>
            <a:ext cx="1997439" cy="8452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EBD58D-32EF-D3E8-04A9-FC70CBEFEE34}"/>
              </a:ext>
            </a:extLst>
          </p:cNvPr>
          <p:cNvSpPr txBox="1"/>
          <p:nvPr/>
        </p:nvSpPr>
        <p:spPr>
          <a:xfrm>
            <a:off x="7083082" y="3083282"/>
            <a:ext cx="19835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dirty="0">
                <a:hlinkClick r:id="rId6"/>
              </a:rPr>
              <a:t>GISAID - gisaid.org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754674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006" y="1246284"/>
            <a:ext cx="2981202" cy="3578662"/>
          </a:xfrm>
          <a:prstGeom prst="rect">
            <a:avLst/>
          </a:prstGeom>
        </p:spPr>
      </p:pic>
      <p:sp>
        <p:nvSpPr>
          <p:cNvPr id="5" name="Title 27">
            <a:extLst>
              <a:ext uri="{FF2B5EF4-FFF2-40B4-BE49-F238E27FC236}">
                <a16:creationId xmlns:a16="http://schemas.microsoft.com/office/drawing/2014/main" id="{6E4B256B-0AF7-7548-ADA3-56900D02B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5152"/>
            <a:ext cx="7886700" cy="994172"/>
          </a:xfrm>
        </p:spPr>
        <p:txBody>
          <a:bodyPr>
            <a:normAutofit fontScale="90000"/>
          </a:bodyPr>
          <a:lstStyle/>
          <a:p>
            <a:pPr algn="ctr"/>
            <a:r>
              <a:rPr lang="en-GB" b="1" dirty="0"/>
              <a:t>Co-infection with influenza viruses can lead to new pandemic virus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1A7CFE-CA5F-8145-9D56-64E54F6F8BEE}"/>
              </a:ext>
            </a:extLst>
          </p:cNvPr>
          <p:cNvSpPr txBox="1"/>
          <p:nvPr/>
        </p:nvSpPr>
        <p:spPr>
          <a:xfrm>
            <a:off x="240847" y="1408626"/>
            <a:ext cx="493545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A6CE39"/>
                </a:solidFill>
              </a:rPr>
              <a:t>Pandemic causing influenza viruses</a:t>
            </a:r>
            <a:endParaRPr lang="en-GB" dirty="0"/>
          </a:p>
          <a:p>
            <a:pPr marL="671513" lvl="1" indent="-214313">
              <a:buFont typeface="Arial" panose="020B0604020202020204" pitchFamily="34" charset="0"/>
              <a:buChar char="•"/>
            </a:pPr>
            <a:r>
              <a:rPr lang="en-GB" dirty="0"/>
              <a:t>Arise from reassortment/recombination between zoonotic and human viruses</a:t>
            </a:r>
          </a:p>
          <a:p>
            <a:pPr marL="671513" lvl="1" indent="-214313">
              <a:buFont typeface="Arial" panose="020B0604020202020204" pitchFamily="34" charset="0"/>
              <a:buChar char="•"/>
            </a:pPr>
            <a:r>
              <a:rPr lang="en-GB" dirty="0"/>
              <a:t>Reassortment = process by which viruses swop gene segments</a:t>
            </a:r>
          </a:p>
          <a:p>
            <a:pPr marL="671513" lvl="1" indent="-214313">
              <a:buFont typeface="Arial" panose="020B0604020202020204" pitchFamily="34" charset="0"/>
              <a:buChar char="•"/>
            </a:pPr>
            <a:r>
              <a:rPr lang="en-GB" dirty="0"/>
              <a:t>Two influenza viruses infect a host at the same time and swap genetic information</a:t>
            </a:r>
          </a:p>
          <a:p>
            <a:pPr marL="671513" lvl="1" indent="-214313">
              <a:buFont typeface="Arial" panose="020B0604020202020204" pitchFamily="34" charset="0"/>
              <a:buChar char="•"/>
            </a:pPr>
            <a:r>
              <a:rPr lang="en-GB" dirty="0"/>
              <a:t>Antigenically distinct from previous human influenza virus subtypes</a:t>
            </a:r>
          </a:p>
          <a:p>
            <a:pPr marL="671513" lvl="1" indent="-214313">
              <a:buFont typeface="Arial" panose="020B0604020202020204" pitchFamily="34" charset="0"/>
              <a:buChar char="•"/>
            </a:pPr>
            <a:r>
              <a:rPr lang="en-GB" dirty="0"/>
              <a:t>No prior immunity</a:t>
            </a:r>
            <a:endParaRPr lang="en-GB" sz="2000" dirty="0"/>
          </a:p>
          <a:p>
            <a:pPr marL="342900" lvl="1"/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97311" y="4835723"/>
            <a:ext cx="3760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Slide courtesy of Jinal Bhiman, NICD</a:t>
            </a:r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223271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9680"/>
    </mc:Choice>
    <mc:Fallback xmlns="">
      <p:transition spd="slow" advTm="89680"/>
    </mc:Fallback>
  </mc:AlternateContent>
  <p:extLst>
    <p:ext uri="{3A86A75C-4F4B-4683-9AE1-C65F6400EC91}">
      <p14:laserTraceLst xmlns:p14="http://schemas.microsoft.com/office/powerpoint/2010/main">
        <p14:tracePtLst>
          <p14:tracePt t="13352" x="7691438" y="4362450"/>
          <p14:tracePt t="13360" x="7691438" y="4352925"/>
          <p14:tracePt t="13370" x="7691438" y="4348163"/>
          <p14:tracePt t="13699" x="7691438" y="4343400"/>
          <p14:tracePt t="13705" x="7700963" y="4333875"/>
          <p14:tracePt t="13716" x="7724775" y="4319588"/>
          <p14:tracePt t="13732" x="7800975" y="4267200"/>
          <p14:tracePt t="13749" x="7948613" y="4191000"/>
          <p14:tracePt t="13766" x="8048625" y="4148138"/>
          <p14:tracePt t="13783" x="8134350" y="4114800"/>
          <p14:tracePt t="13810" x="8191500" y="4090988"/>
          <p14:tracePt t="13827" x="8191500" y="4086225"/>
          <p14:tracePt t="13958" x="8196263" y="4086225"/>
          <p14:tracePt t="13966" x="8201025" y="4081463"/>
          <p14:tracePt t="13976" x="8210550" y="4076700"/>
          <p14:tracePt t="13993" x="8234363" y="4062413"/>
          <p14:tracePt t="14009" x="8239125" y="4052888"/>
          <p14:tracePt t="14027" x="8243888" y="4052888"/>
          <p14:tracePt t="14072" x="8248650" y="4052888"/>
          <p14:tracePt t="14080" x="8248650" y="4048125"/>
          <p14:tracePt t="14096" x="8253413" y="4048125"/>
          <p14:tracePt t="14109" x="8253413" y="4043363"/>
          <p14:tracePt t="14127" x="8253413" y="4038600"/>
          <p14:tracePt t="14143" x="8258175" y="4033838"/>
          <p14:tracePt t="14160" x="8258175" y="4029075"/>
          <p14:tracePt t="14177" x="8262938" y="4029075"/>
          <p14:tracePt t="14773" x="8258175" y="4029075"/>
          <p14:tracePt t="14782" x="8239125" y="4024313"/>
          <p14:tracePt t="14789" x="8205788" y="4010025"/>
          <p14:tracePt t="14799" x="8172450" y="4005263"/>
          <p14:tracePt t="14815" x="8096250" y="3986213"/>
          <p14:tracePt t="14831" x="7991475" y="3962400"/>
          <p14:tracePt t="14860" x="7786688" y="3929063"/>
          <p14:tracePt t="14878" x="7648575" y="3914775"/>
          <p14:tracePt t="14894" x="7577138" y="3905250"/>
          <p14:tracePt t="14910" x="7515225" y="3890963"/>
          <p14:tracePt t="14926" x="7458075" y="3881438"/>
          <p14:tracePt t="14943" x="7439025" y="3876675"/>
          <p14:tracePt t="14960" x="7434263" y="3876675"/>
          <p14:tracePt t="15034" x="7439025" y="3876675"/>
          <p14:tracePt t="15040" x="7453313" y="3871913"/>
          <p14:tracePt t="15049" x="7467600" y="3871913"/>
          <p14:tracePt t="15060" x="7481888" y="3867150"/>
          <p14:tracePt t="15077" x="7529513" y="3867150"/>
          <p14:tracePt t="15093" x="7577138" y="3867150"/>
          <p14:tracePt t="15110" x="7658100" y="3867150"/>
          <p14:tracePt t="15127" x="7767638" y="3867150"/>
          <p14:tracePt t="15144" x="7858125" y="3867150"/>
          <p14:tracePt t="15160" x="7929563" y="3857625"/>
          <p14:tracePt t="15177" x="7977188" y="3843338"/>
          <p14:tracePt t="15194" x="8005763" y="3824288"/>
          <p14:tracePt t="15210" x="8029575" y="3810000"/>
          <p14:tracePt t="15227" x="8053388" y="3790950"/>
          <p14:tracePt t="15232" x="8058150" y="3781425"/>
          <p14:tracePt t="15244" x="8062913" y="3781425"/>
          <p14:tracePt t="15260" x="8067675" y="3771900"/>
          <p14:tracePt t="15278" x="8081963" y="3757613"/>
          <p14:tracePt t="15294" x="8101013" y="3743325"/>
          <p14:tracePt t="15310" x="8129588" y="3719513"/>
          <p14:tracePt t="15327" x="8143875" y="3709988"/>
          <p14:tracePt t="15344" x="8153400" y="3700463"/>
          <p14:tracePt t="15360" x="8158163" y="3700463"/>
          <p14:tracePt t="15377" x="8158163" y="3695700"/>
          <p14:tracePt t="23841" x="8158163" y="3690938"/>
          <p14:tracePt t="23848" x="8148638" y="3686175"/>
          <p14:tracePt t="23857" x="8139113" y="3676650"/>
          <p14:tracePt t="23872" x="8139113" y="3662363"/>
          <p14:tracePt t="23889" x="8129588" y="3662363"/>
          <p14:tracePt t="24058" x="8110538" y="3657600"/>
          <p14:tracePt t="24065" x="8101013" y="3652838"/>
          <p14:tracePt t="24077" x="8096250" y="3648075"/>
          <p14:tracePt t="24136" x="8096250" y="3633788"/>
          <p14:tracePt t="24144" x="8101013" y="3633788"/>
          <p14:tracePt t="24208" x="8096250" y="3633788"/>
          <p14:tracePt t="24216" x="8091488" y="3633788"/>
          <p14:tracePt t="24240" x="8091488" y="3629025"/>
          <p14:tracePt t="24328" x="8086725" y="3629025"/>
          <p14:tracePt t="24344" x="8077200" y="3629025"/>
          <p14:tracePt t="24360" x="8072438" y="3629025"/>
          <p14:tracePt t="24368" x="8067675" y="3629025"/>
          <p14:tracePt t="24377" x="8062913" y="3629025"/>
          <p14:tracePt t="24393" x="8058150" y="3629025"/>
          <p14:tracePt t="24410" x="8048625" y="3629025"/>
          <p14:tracePt t="24444" x="8043863" y="3629025"/>
          <p14:tracePt t="24497" x="8048625" y="3629025"/>
          <p14:tracePt t="24832" x="8053388" y="3629025"/>
          <p14:tracePt t="24848" x="8058150" y="3629025"/>
          <p14:tracePt t="25289" x="8058150" y="3624263"/>
          <p14:tracePt t="25305" x="8062913" y="3619500"/>
          <p14:tracePt t="25370" x="8062913" y="3614738"/>
          <p14:tracePt t="25376" x="8067675" y="3614738"/>
          <p14:tracePt t="25393" x="8067675" y="3609975"/>
          <p14:tracePt t="25410" x="8077200" y="3600450"/>
          <p14:tracePt t="25427" x="8086725" y="3586163"/>
          <p14:tracePt t="25444" x="8096250" y="3576638"/>
          <p14:tracePt t="25461" x="8101013" y="3567113"/>
          <p14:tracePt t="25477" x="8110538" y="3552825"/>
          <p14:tracePt t="25493" x="8124825" y="3538538"/>
          <p14:tracePt t="25510" x="8134350" y="3529013"/>
          <p14:tracePt t="25526" x="8143875" y="3519488"/>
          <p14:tracePt t="25543" x="8148638" y="3519488"/>
          <p14:tracePt t="30424" x="8148638" y="3509963"/>
          <p14:tracePt t="30431" x="8148638" y="3476625"/>
          <p14:tracePt t="30438" x="8148638" y="3414713"/>
          <p14:tracePt t="30449" x="8143875" y="3333750"/>
          <p14:tracePt t="30465" x="8139113" y="3190875"/>
          <p14:tracePt t="30481" x="8124825" y="3057525"/>
          <p14:tracePt t="30510" x="7996238" y="2752725"/>
          <p14:tracePt t="30526" x="7910513" y="2609850"/>
          <p14:tracePt t="30543" x="7824788" y="2490788"/>
          <p14:tracePt t="30560" x="7743825" y="2395538"/>
          <p14:tracePt t="30577" x="7662863" y="2309813"/>
          <p14:tracePt t="30593" x="7586663" y="2257425"/>
          <p14:tracePt t="30610" x="7496175" y="2224088"/>
          <p14:tracePt t="30627" x="7400925" y="2200275"/>
          <p14:tracePt t="30643" x="7315200" y="2190750"/>
          <p14:tracePt t="30660" x="7239000" y="2181225"/>
          <p14:tracePt t="30677" x="7143750" y="2181225"/>
          <p14:tracePt t="30693" x="7077075" y="2181225"/>
          <p14:tracePt t="30709" x="7034213" y="2181225"/>
          <p14:tracePt t="30726" x="7010400" y="2181225"/>
          <p14:tracePt t="30743" x="6991350" y="2181225"/>
          <p14:tracePt t="30801" x="6991350" y="2190750"/>
          <p14:tracePt t="30809" x="6991350" y="2200275"/>
          <p14:tracePt t="30817" x="6996113" y="2214563"/>
          <p14:tracePt t="30827" x="6996113" y="2228850"/>
          <p14:tracePt t="30844" x="7000875" y="2252663"/>
          <p14:tracePt t="30860" x="7005638" y="2276475"/>
          <p14:tracePt t="30878" x="7005638" y="2314575"/>
          <p14:tracePt t="30893" x="7010400" y="2333625"/>
          <p14:tracePt t="30910" x="7015163" y="2343150"/>
          <p14:tracePt t="30967" x="7010400" y="2333625"/>
          <p14:tracePt t="30975" x="6996113" y="2314575"/>
          <p14:tracePt t="30982" x="6986588" y="2295525"/>
          <p14:tracePt t="30992" x="6977063" y="2271713"/>
          <p14:tracePt t="31010" x="6943725" y="2214563"/>
          <p14:tracePt t="31026" x="6891338" y="2143125"/>
          <p14:tracePt t="31043" x="6858000" y="2085975"/>
          <p14:tracePt t="31060" x="6838950" y="2052638"/>
          <p14:tracePt t="31077" x="6824663" y="2009775"/>
          <p14:tracePt t="31094" x="6824663" y="2005013"/>
          <p14:tracePt t="31208" x="6824663" y="2000250"/>
          <p14:tracePt t="31217" x="6824663" y="1990725"/>
          <p14:tracePt t="31226" x="6824663" y="1985963"/>
          <p14:tracePt t="31243" x="6824663" y="1957388"/>
          <p14:tracePt t="31245" x="6824663" y="1938338"/>
          <p14:tracePt t="31260" x="6824663" y="1919288"/>
          <p14:tracePt t="31276" x="6824663" y="1857375"/>
          <p14:tracePt t="31293" x="6824663" y="1752600"/>
          <p14:tracePt t="31310" x="6815138" y="1685925"/>
          <p14:tracePt t="31326" x="6800850" y="1638300"/>
          <p14:tracePt t="31343" x="6781800" y="1614488"/>
          <p14:tracePt t="31360" x="6767513" y="1590675"/>
          <p14:tracePt t="31376" x="6748463" y="1566863"/>
          <p14:tracePt t="31394" x="6715125" y="1538288"/>
          <p14:tracePt t="31410" x="6648450" y="1495425"/>
          <p14:tracePt t="31427" x="6572250" y="1447800"/>
          <p14:tracePt t="31443" x="6491288" y="1400175"/>
          <p14:tracePt t="31460" x="6415088" y="1352550"/>
          <p14:tracePt t="31478" x="6319838" y="1309688"/>
          <p14:tracePt t="31494" x="6272213" y="1290638"/>
          <p14:tracePt t="31510" x="6224588" y="1276350"/>
          <p14:tracePt t="31527" x="6186488" y="1262063"/>
          <p14:tracePt t="31543" x="6157913" y="1252538"/>
          <p14:tracePt t="31560" x="6110288" y="1243013"/>
          <p14:tracePt t="31576" x="6072188" y="1233488"/>
          <p14:tracePt t="31594" x="6029325" y="1233488"/>
          <p14:tracePt t="31610" x="5986463" y="1233488"/>
          <p14:tracePt t="31627" x="5943600" y="1233488"/>
          <p14:tracePt t="31643" x="5900738" y="1252538"/>
          <p14:tracePt t="31660" x="5848350" y="1271588"/>
          <p14:tracePt t="31677" x="5786438" y="1333500"/>
          <p14:tracePt t="31693" x="5757863" y="1366838"/>
          <p14:tracePt t="31711" x="5724525" y="1419225"/>
          <p14:tracePt t="31727" x="5700713" y="1457325"/>
          <p14:tracePt t="31744" x="5686425" y="1485900"/>
          <p14:tracePt t="31760" x="5662613" y="1533525"/>
          <p14:tracePt t="31777" x="5648325" y="1576388"/>
          <p14:tracePt t="31793" x="5634038" y="1614488"/>
          <p14:tracePt t="31810" x="5624513" y="1662113"/>
          <p14:tracePt t="31827" x="5619750" y="1719263"/>
          <p14:tracePt t="31843" x="5619750" y="1785938"/>
          <p14:tracePt t="31860" x="5614988" y="1852613"/>
          <p14:tracePt t="31878" x="5614988" y="1938338"/>
          <p14:tracePt t="31894" x="5614988" y="1995488"/>
          <p14:tracePt t="31910" x="5619750" y="2047875"/>
          <p14:tracePt t="31926" x="5624513" y="2100263"/>
          <p14:tracePt t="31943" x="5629275" y="2147888"/>
          <p14:tracePt t="31960" x="5638800" y="2200275"/>
          <p14:tracePt t="31976" x="5648325" y="2243138"/>
          <p14:tracePt t="31993" x="5657850" y="2276475"/>
          <p14:tracePt t="32009" x="5676900" y="2314575"/>
          <p14:tracePt t="32027" x="5695950" y="2352675"/>
          <p14:tracePt t="32043" x="5710238" y="2376488"/>
          <p14:tracePt t="32060" x="5724525" y="2400300"/>
          <p14:tracePt t="32078" x="5753100" y="2443163"/>
          <p14:tracePt t="32093" x="5772150" y="2462213"/>
          <p14:tracePt t="32110" x="5805488" y="2486025"/>
          <p14:tracePt t="32126" x="5834063" y="2505075"/>
          <p14:tracePt t="32143" x="5862638" y="2519363"/>
          <p14:tracePt t="32159" x="5905500" y="2538413"/>
          <p14:tracePt t="32176" x="5962650" y="2552700"/>
          <p14:tracePt t="32193" x="6005513" y="2562225"/>
          <p14:tracePt t="32210" x="6053138" y="2562225"/>
          <p14:tracePt t="32227" x="6105525" y="2566988"/>
          <p14:tracePt t="32244" x="6162675" y="2566988"/>
          <p14:tracePt t="32254" x="6234113" y="2566988"/>
          <p14:tracePt t="32278" x="6343650" y="2571750"/>
          <p14:tracePt t="32294" x="6415088" y="2571750"/>
          <p14:tracePt t="32310" x="6477000" y="2571750"/>
          <p14:tracePt t="32327" x="6543675" y="2562225"/>
          <p14:tracePt t="32344" x="6610350" y="2524125"/>
          <p14:tracePt t="32360" x="6681788" y="2476500"/>
          <p14:tracePt t="32377" x="6729413" y="2428875"/>
          <p14:tracePt t="32394" x="6762750" y="2376488"/>
          <p14:tracePt t="32410" x="6786563" y="2324100"/>
          <p14:tracePt t="32427" x="6796088" y="2266950"/>
          <p14:tracePt t="32443" x="6796088" y="2205038"/>
          <p14:tracePt t="32460" x="6796088" y="2109788"/>
          <p14:tracePt t="32477" x="6796088" y="1976438"/>
          <p14:tracePt t="32493" x="6800850" y="1866900"/>
          <p14:tracePt t="32510" x="6800850" y="1776413"/>
          <p14:tracePt t="32526" x="6786563" y="1695450"/>
          <p14:tracePt t="32543" x="6762750" y="1600200"/>
          <p14:tracePt t="32560" x="6724650" y="1524000"/>
          <p14:tracePt t="32577" x="6672263" y="1452563"/>
          <p14:tracePt t="32593" x="6600825" y="1400175"/>
          <p14:tracePt t="32609" x="6524625" y="1362075"/>
          <p14:tracePt t="32626" x="6443663" y="1328738"/>
          <p14:tracePt t="32643" x="6348413" y="1295400"/>
          <p14:tracePt t="32660" x="6257925" y="1271588"/>
          <p14:tracePt t="32676" x="6172200" y="1247775"/>
          <p14:tracePt t="32693" x="6062663" y="1233488"/>
          <p14:tracePt t="32710" x="6000750" y="1233488"/>
          <p14:tracePt t="32727" x="5957888" y="1233488"/>
          <p14:tracePt t="32744" x="5915025" y="1247775"/>
          <p14:tracePt t="32749" x="5891213" y="1262063"/>
          <p14:tracePt t="32760" x="5862638" y="1276350"/>
          <p14:tracePt t="32776" x="5805488" y="1333500"/>
          <p14:tracePt t="32793" x="5748338" y="1404938"/>
          <p14:tracePt t="32810" x="5681663" y="1481138"/>
          <p14:tracePt t="32827" x="5614988" y="1557338"/>
          <p14:tracePt t="32843" x="5553075" y="1643063"/>
          <p14:tracePt t="32860" x="5510213" y="1719263"/>
          <p14:tracePt t="32878" x="5472113" y="1828800"/>
          <p14:tracePt t="32894" x="5453063" y="1905000"/>
          <p14:tracePt t="32910" x="5453063" y="1966913"/>
          <p14:tracePt t="32926" x="5453063" y="2038350"/>
          <p14:tracePt t="32943" x="5472113" y="2105025"/>
          <p14:tracePt t="32960" x="5514975" y="2171700"/>
          <p14:tracePt t="32977" x="5557838" y="2243138"/>
          <p14:tracePt t="32993" x="5619750" y="2314575"/>
          <p14:tracePt t="33010" x="5691188" y="2376488"/>
          <p14:tracePt t="33026" x="5772150" y="2424113"/>
          <p14:tracePt t="33043" x="5872163" y="2462213"/>
          <p14:tracePt t="33060" x="5962650" y="2481263"/>
          <p14:tracePt t="33078" x="6076950" y="2486025"/>
          <p14:tracePt t="33094" x="6148388" y="2486025"/>
          <p14:tracePt t="33111" x="6200775" y="2476500"/>
          <p14:tracePt t="33127" x="6224588" y="2471738"/>
          <p14:tracePt t="33144" x="6234113" y="2466975"/>
          <p14:tracePt t="33433" x="6238875" y="2466975"/>
          <p14:tracePt t="33440" x="6248400" y="2466975"/>
          <p14:tracePt t="33448" x="6276975" y="2466975"/>
          <p14:tracePt t="33462" x="6376988" y="2457450"/>
          <p14:tracePt t="33478" x="6524625" y="2428875"/>
          <p14:tracePt t="33495" x="6743700" y="2371725"/>
          <p14:tracePt t="33512" x="7005638" y="2286000"/>
          <p14:tracePt t="33543" x="7367588" y="2066925"/>
          <p14:tracePt t="33560" x="7424738" y="1976438"/>
          <p14:tracePt t="33577" x="7434263" y="1905000"/>
          <p14:tracePt t="33593" x="7434263" y="1866900"/>
          <p14:tracePt t="33610" x="7419975" y="1852613"/>
          <p14:tracePt t="33626" x="7386638" y="1833563"/>
          <p14:tracePt t="33644" x="7343775" y="1819275"/>
          <p14:tracePt t="33662" x="7300913" y="1790700"/>
          <p14:tracePt t="33678" x="7286625" y="1771650"/>
          <p14:tracePt t="33694" x="7281863" y="1757363"/>
          <p14:tracePt t="33710" x="7281863" y="1743075"/>
          <p14:tracePt t="33727" x="7286625" y="1700213"/>
          <p14:tracePt t="33743" x="7300913" y="1652588"/>
          <p14:tracePt t="33760" x="7315200" y="1609725"/>
          <p14:tracePt t="33776" x="7324725" y="1585913"/>
          <p14:tracePt t="33793" x="7334250" y="1562100"/>
          <p14:tracePt t="33810" x="7339013" y="1547813"/>
          <p14:tracePt t="33826" x="7343775" y="1528763"/>
          <p14:tracePt t="33844" x="7343775" y="1504950"/>
          <p14:tracePt t="33860" x="7343775" y="1485900"/>
          <p14:tracePt t="33877" x="7339013" y="1471613"/>
          <p14:tracePt t="33894" x="7334250" y="1471613"/>
          <p14:tracePt t="33942" x="7329488" y="1471613"/>
          <p14:tracePt t="33958" x="7324725" y="1471613"/>
          <p14:tracePt t="33984" x="7324725" y="1466850"/>
          <p14:tracePt t="33993" x="7324725" y="1462088"/>
          <p14:tracePt t="34000" x="7324725" y="1452563"/>
          <p14:tracePt t="34010" x="7324725" y="1433513"/>
          <p14:tracePt t="34027" x="7329488" y="1371600"/>
          <p14:tracePt t="34044" x="7358063" y="1300163"/>
          <p14:tracePt t="34060" x="7405688" y="1223963"/>
          <p14:tracePt t="34077" x="7505700" y="1162050"/>
          <p14:tracePt t="34093" x="7577138" y="1133475"/>
          <p14:tracePt t="34110" x="7658100" y="1119188"/>
          <p14:tracePt t="34126" x="7762875" y="1119188"/>
          <p14:tracePt t="34143" x="7872413" y="1128713"/>
          <p14:tracePt t="34160" x="7981950" y="1147763"/>
          <p14:tracePt t="34176" x="8086725" y="1171575"/>
          <p14:tracePt t="34193" x="8177213" y="1200150"/>
          <p14:tracePt t="34210" x="8248650" y="1228725"/>
          <p14:tracePt t="34227" x="8324850" y="1281113"/>
          <p14:tracePt t="34243" x="8405813" y="1347788"/>
          <p14:tracePt t="34244" x="8439150" y="1376363"/>
          <p14:tracePt t="34260" x="8462963" y="1409700"/>
          <p14:tracePt t="34276" x="8510588" y="1476375"/>
          <p14:tracePt t="34293" x="8562975" y="1590675"/>
          <p14:tracePt t="34311" x="8586788" y="1681163"/>
          <p14:tracePt t="34327" x="8610600" y="1776413"/>
          <p14:tracePt t="34344" x="8615363" y="1885950"/>
          <p14:tracePt t="34360" x="8615363" y="1995488"/>
          <p14:tracePt t="34377" x="8605838" y="2090738"/>
          <p14:tracePt t="34394" x="8582025" y="2181225"/>
          <p14:tracePt t="34410" x="8548688" y="2286000"/>
          <p14:tracePt t="34427" x="8501063" y="2371725"/>
          <p14:tracePt t="34444" x="8439150" y="2466975"/>
          <p14:tracePt t="34460" x="8358188" y="2557463"/>
          <p14:tracePt t="34478" x="8210550" y="2662238"/>
          <p14:tracePt t="34494" x="8091488" y="2700338"/>
          <p14:tracePt t="34511" x="7986713" y="2724150"/>
          <p14:tracePt t="34527" x="7905750" y="2724150"/>
          <p14:tracePt t="34543" x="7824788" y="2714625"/>
          <p14:tracePt t="34560" x="7724775" y="2690813"/>
          <p14:tracePt t="34576" x="7600950" y="2647950"/>
          <p14:tracePt t="34593" x="7443788" y="2581275"/>
          <p14:tracePt t="34610" x="7315200" y="2519363"/>
          <p14:tracePt t="34626" x="7234238" y="2486025"/>
          <p14:tracePt t="34644" x="7158038" y="2447925"/>
          <p14:tracePt t="34662" x="7086600" y="2362200"/>
          <p14:tracePt t="34678" x="7019925" y="2252663"/>
          <p14:tracePt t="34694" x="6977063" y="2147888"/>
          <p14:tracePt t="34711" x="6953250" y="2043113"/>
          <p14:tracePt t="34727" x="6938963" y="1943100"/>
          <p14:tracePt t="34743" x="6938963" y="1852613"/>
          <p14:tracePt t="34761" x="6938963" y="1781175"/>
          <p14:tracePt t="34777" x="6938963" y="1719263"/>
          <p14:tracePt t="34793" x="6958013" y="1657350"/>
          <p14:tracePt t="34810" x="6972300" y="1604963"/>
          <p14:tracePt t="34826" x="6996113" y="1557338"/>
          <p14:tracePt t="34843" x="7024688" y="1514475"/>
          <p14:tracePt t="34859" x="7062788" y="1481138"/>
          <p14:tracePt t="34877" x="7148513" y="1428750"/>
          <p14:tracePt t="34894" x="7234238" y="1400175"/>
          <p14:tracePt t="34910" x="7343775" y="1381125"/>
          <p14:tracePt t="34926" x="7462838" y="1376363"/>
          <p14:tracePt t="34943" x="7586663" y="1371600"/>
          <p14:tracePt t="34959" x="7715250" y="1371600"/>
          <p14:tracePt t="34976" x="7810500" y="1385888"/>
          <p14:tracePt t="34993" x="7881938" y="1400175"/>
          <p14:tracePt t="35010" x="7939088" y="1423988"/>
          <p14:tracePt t="35027" x="7986713" y="1457325"/>
          <p14:tracePt t="35043" x="8015288" y="1490663"/>
          <p14:tracePt t="35060" x="8034338" y="1533525"/>
          <p14:tracePt t="35078" x="8072438" y="1647825"/>
          <p14:tracePt t="35094" x="8091488" y="1728788"/>
          <p14:tracePt t="35110" x="8105775" y="1814513"/>
          <p14:tracePt t="35127" x="8124825" y="1919288"/>
          <p14:tracePt t="35143" x="8134350" y="2019300"/>
          <p14:tracePt t="35160" x="8139113" y="2109788"/>
          <p14:tracePt t="35177" x="8139113" y="2185988"/>
          <p14:tracePt t="35193" x="8139113" y="2252663"/>
          <p14:tracePt t="35210" x="8124825" y="2300288"/>
          <p14:tracePt t="35227" x="8120063" y="2319338"/>
          <p14:tracePt t="35243" x="8115300" y="2328863"/>
          <p14:tracePt t="35721" x="8115300" y="2333625"/>
          <p14:tracePt t="35729" x="8115300" y="2343150"/>
          <p14:tracePt t="35743" x="8110538" y="2357438"/>
          <p14:tracePt t="35759" x="8105775" y="2381250"/>
          <p14:tracePt t="35776" x="8101013" y="2395538"/>
          <p14:tracePt t="35810" x="8101013" y="2424113"/>
          <p14:tracePt t="35843" x="8096250" y="2428875"/>
          <p14:tracePt t="35860" x="8096250" y="2433638"/>
          <p14:tracePt t="35878" x="8096250" y="2438400"/>
          <p14:tracePt t="35894" x="8086725" y="2443163"/>
          <p14:tracePt t="35910" x="8067675" y="2457450"/>
          <p14:tracePt t="35926" x="8043863" y="2466975"/>
          <p14:tracePt t="35943" x="8005763" y="2481263"/>
          <p14:tracePt t="35960" x="7958138" y="2500313"/>
          <p14:tracePt t="35977" x="7915275" y="2505075"/>
          <p14:tracePt t="35993" x="7867650" y="2519363"/>
          <p14:tracePt t="36010" x="7820025" y="2524125"/>
          <p14:tracePt t="36026" x="7796213" y="2528888"/>
          <p14:tracePt t="36043" x="7781925" y="2533650"/>
          <p14:tracePt t="36060" x="7772400" y="2533650"/>
          <p14:tracePt t="36077" x="7767638" y="2533650"/>
          <p14:tracePt t="36095" x="7762875" y="2533650"/>
          <p14:tracePt t="36110" x="7753350" y="2533650"/>
          <p14:tracePt t="36127" x="7734300" y="2533650"/>
          <p14:tracePt t="36143" x="7720013" y="2533650"/>
          <p14:tracePt t="36160" x="7696200" y="2533650"/>
          <p14:tracePt t="36177" x="7672388" y="2528888"/>
          <p14:tracePt t="36193" x="7648575" y="2524125"/>
          <p14:tracePt t="36209" x="7629525" y="2524125"/>
          <p14:tracePt t="36226" x="7610475" y="2519363"/>
          <p14:tracePt t="36243" x="7596188" y="2514600"/>
          <p14:tracePt t="36262" x="7581900" y="2495550"/>
          <p14:tracePt t="36278" x="7572375" y="2476500"/>
          <p14:tracePt t="36294" x="7553325" y="2452688"/>
          <p14:tracePt t="36311" x="7539038" y="2438400"/>
          <p14:tracePt t="36326" x="7529513" y="2414588"/>
          <p14:tracePt t="36343" x="7524750" y="2386013"/>
          <p14:tracePt t="36360" x="7519988" y="2366963"/>
          <p14:tracePt t="36376" x="7510463" y="2343150"/>
          <p14:tracePt t="36393" x="7500938" y="2319338"/>
          <p14:tracePt t="36410" x="7491413" y="2300288"/>
          <p14:tracePt t="36426" x="7481888" y="2286000"/>
          <p14:tracePt t="36443" x="7477125" y="2276475"/>
          <p14:tracePt t="36460" x="7472363" y="2266950"/>
          <p14:tracePt t="36476" x="7472363" y="2257425"/>
          <p14:tracePt t="36493" x="7472363" y="2252663"/>
          <p14:tracePt t="36510" x="7472363" y="2243138"/>
          <p14:tracePt t="36526" x="7472363" y="2228850"/>
          <p14:tracePt t="36543" x="7467600" y="2209800"/>
          <p14:tracePt t="36560" x="7462838" y="2185988"/>
          <p14:tracePt t="36576" x="7458075" y="2152650"/>
          <p14:tracePt t="36593" x="7458075" y="2119313"/>
          <p14:tracePt t="36610" x="7453313" y="2090738"/>
          <p14:tracePt t="36627" x="7453313" y="2081213"/>
          <p14:tracePt t="36643" x="7448550" y="2071688"/>
          <p14:tracePt t="36794" x="7443788" y="2071688"/>
          <p14:tracePt t="36811" x="7434263" y="2071688"/>
          <p14:tracePt t="36816" x="7434263" y="2066925"/>
          <p14:tracePt t="36828" x="7429500" y="2066925"/>
          <p14:tracePt t="37104" x="7419975" y="2066925"/>
          <p14:tracePt t="37120" x="7415213" y="2066925"/>
          <p14:tracePt t="37129" x="7405688" y="2066925"/>
          <p14:tracePt t="37144" x="7396163" y="2066925"/>
          <p14:tracePt t="37160" x="7377113" y="2071688"/>
          <p14:tracePt t="37177" x="7362825" y="2085975"/>
          <p14:tracePt t="37193" x="7343775" y="2090738"/>
          <p14:tracePt t="37210" x="7324725" y="2105025"/>
          <p14:tracePt t="37227" x="7300913" y="2124075"/>
          <p14:tracePt t="37232" x="7281863" y="2128838"/>
          <p14:tracePt t="37243" x="7267575" y="2143125"/>
          <p14:tracePt t="37260" x="7234238" y="2162175"/>
          <p14:tracePt t="37278" x="7196138" y="2200275"/>
          <p14:tracePt t="37294" x="7167563" y="2219325"/>
          <p14:tracePt t="37310" x="7153275" y="2243138"/>
          <p14:tracePt t="37327" x="7138988" y="2262188"/>
          <p14:tracePt t="37344" x="7124700" y="2276475"/>
          <p14:tracePt t="37360" x="7115175" y="2295525"/>
          <p14:tracePt t="37376" x="7110413" y="2309813"/>
          <p14:tracePt t="37393" x="7105650" y="2319338"/>
          <p14:tracePt t="37410" x="7100888" y="2333625"/>
          <p14:tracePt t="37426" x="7091363" y="2352675"/>
          <p14:tracePt t="37443" x="7072313" y="2381250"/>
          <p14:tracePt t="37460" x="7053263" y="2414588"/>
          <p14:tracePt t="37477" x="7015163" y="2471738"/>
          <p14:tracePt t="37493" x="6986588" y="2514600"/>
          <p14:tracePt t="37510" x="6958013" y="2547938"/>
          <p14:tracePt t="37526" x="6938963" y="2576513"/>
          <p14:tracePt t="37543" x="6929438" y="2586038"/>
          <p14:tracePt t="37560" x="6924675" y="2609850"/>
          <p14:tracePt t="37576" x="6915150" y="2628900"/>
          <p14:tracePt t="37593" x="6910388" y="2667000"/>
          <p14:tracePt t="37610" x="6896100" y="2700338"/>
          <p14:tracePt t="37627" x="6886575" y="2747963"/>
          <p14:tracePt t="37643" x="6881813" y="2781300"/>
          <p14:tracePt t="37660" x="6881813" y="2809875"/>
          <p14:tracePt t="37677" x="6877050" y="2833688"/>
          <p14:tracePt t="37694" x="6877050" y="2852738"/>
          <p14:tracePt t="37711" x="6877050" y="2871788"/>
          <p14:tracePt t="37727" x="6877050" y="2881313"/>
          <p14:tracePt t="37744" x="6877050" y="2905125"/>
          <p14:tracePt t="37760" x="6877050" y="2924175"/>
          <p14:tracePt t="37776" x="6877050" y="2943225"/>
          <p14:tracePt t="37793" x="6877050" y="2962275"/>
          <p14:tracePt t="37809" x="6877050" y="2986088"/>
          <p14:tracePt t="37826" x="6877050" y="3005138"/>
          <p14:tracePt t="37843" x="6877050" y="3014663"/>
          <p14:tracePt t="37860" x="6877050" y="3024188"/>
          <p14:tracePt t="37877" x="6881813" y="3033713"/>
          <p14:tracePt t="37894" x="6881813" y="3043238"/>
          <p14:tracePt t="37909" x="6881813" y="3052763"/>
          <p14:tracePt t="37926" x="6881813" y="3057525"/>
          <p14:tracePt t="39425" x="6886575" y="3057525"/>
          <p14:tracePt t="39432" x="6891338" y="3062288"/>
          <p14:tracePt t="39440" x="6900863" y="3067050"/>
          <p14:tracePt t="39457" x="6929438" y="3071813"/>
          <p14:tracePt t="39472" x="6962775" y="3076575"/>
          <p14:tracePt t="39488" x="7000875" y="3081338"/>
          <p14:tracePt t="39510" x="7043738" y="3081338"/>
          <p14:tracePt t="39526" x="7081838" y="3081338"/>
          <p14:tracePt t="39543" x="7110413" y="3081338"/>
          <p14:tracePt t="39560" x="7138988" y="3076575"/>
          <p14:tracePt t="39577" x="7167563" y="3062288"/>
          <p14:tracePt t="39594" x="7191375" y="3043238"/>
          <p14:tracePt t="39610" x="7219950" y="3014663"/>
          <p14:tracePt t="39627" x="7239000" y="3000375"/>
          <p14:tracePt t="39644" x="7253288" y="2976563"/>
          <p14:tracePt t="39660" x="7262813" y="2952750"/>
          <p14:tracePt t="39678" x="7277100" y="2900363"/>
          <p14:tracePt t="39694" x="7281863" y="2871788"/>
          <p14:tracePt t="39710" x="7281863" y="2843213"/>
          <p14:tracePt t="39727" x="7281863" y="2819400"/>
          <p14:tracePt t="39743" x="7281863" y="2781300"/>
          <p14:tracePt t="39760" x="7277100" y="2752725"/>
          <p14:tracePt t="39777" x="7267575" y="2738438"/>
          <p14:tracePt t="39793" x="7253288" y="2719388"/>
          <p14:tracePt t="39810" x="7219950" y="2695575"/>
          <p14:tracePt t="39826" x="7186613" y="2667000"/>
          <p14:tracePt t="39843" x="7153275" y="2647950"/>
          <p14:tracePt t="39860" x="7105650" y="2633663"/>
          <p14:tracePt t="39878" x="7034213" y="2614613"/>
          <p14:tracePt t="39893" x="7000875" y="2605088"/>
          <p14:tracePt t="39910" x="6972300" y="2600325"/>
          <p14:tracePt t="39926" x="6948488" y="2595563"/>
          <p14:tracePt t="39943" x="6919913" y="2595563"/>
          <p14:tracePt t="39960" x="6886575" y="2595563"/>
          <p14:tracePt t="39976" x="6834188" y="2595563"/>
          <p14:tracePt t="39993" x="6767513" y="2590800"/>
          <p14:tracePt t="40010" x="6705600" y="2590800"/>
          <p14:tracePt t="40027" x="6638925" y="2590800"/>
          <p14:tracePt t="40043" x="6577013" y="2590800"/>
          <p14:tracePt t="40060" x="6505575" y="2590800"/>
          <p14:tracePt t="40078" x="6419850" y="2586038"/>
          <p14:tracePt t="40094" x="6386513" y="2586038"/>
          <p14:tracePt t="40110" x="6357938" y="2590800"/>
          <p14:tracePt t="40127" x="6329363" y="2609850"/>
          <p14:tracePt t="40143" x="6291263" y="2643188"/>
          <p14:tracePt t="40160" x="6253163" y="2667000"/>
          <p14:tracePt t="40177" x="6215063" y="2690813"/>
          <p14:tracePt t="40193" x="6186488" y="2714625"/>
          <p14:tracePt t="40210" x="6162675" y="2733675"/>
          <p14:tracePt t="40227" x="6134100" y="2747963"/>
          <p14:tracePt t="40243" x="6110288" y="2776538"/>
          <p14:tracePt t="40249" x="6100763" y="2795588"/>
          <p14:tracePt t="40260" x="6091238" y="2809875"/>
          <p14:tracePt t="40278" x="6067425" y="2862263"/>
          <p14:tracePt t="40293" x="6053138" y="2909888"/>
          <p14:tracePt t="40310" x="6048375" y="2957513"/>
          <p14:tracePt t="40327" x="6048375" y="3014663"/>
          <p14:tracePt t="40344" x="6048375" y="3067050"/>
          <p14:tracePt t="40360" x="6048375" y="3105150"/>
          <p14:tracePt t="40376" x="6062663" y="3148013"/>
          <p14:tracePt t="40393" x="6076950" y="3186113"/>
          <p14:tracePt t="40409" x="6100763" y="3228975"/>
          <p14:tracePt t="40427" x="6124575" y="3300413"/>
          <p14:tracePt t="40443" x="6157913" y="3376613"/>
          <p14:tracePt t="40460" x="6186488" y="3448050"/>
          <p14:tracePt t="40478" x="6224588" y="3543300"/>
          <p14:tracePt t="40494" x="6248400" y="3595688"/>
          <p14:tracePt t="40511" x="6272213" y="3624263"/>
          <p14:tracePt t="40527" x="6281738" y="3633788"/>
          <p14:tracePt t="40543" x="6291263" y="3638550"/>
          <p14:tracePt t="40561" x="6305550" y="3638550"/>
          <p14:tracePt t="40577" x="6329363" y="3643313"/>
          <p14:tracePt t="40594" x="6362700" y="3648075"/>
          <p14:tracePt t="40611" x="6429375" y="3667125"/>
          <p14:tracePt t="40627" x="6510338" y="3690938"/>
          <p14:tracePt t="40644" x="6605588" y="3719513"/>
          <p14:tracePt t="40661" x="6724650" y="3743325"/>
          <p14:tracePt t="40678" x="6886575" y="3757613"/>
          <p14:tracePt t="40693" x="7038975" y="3762375"/>
          <p14:tracePt t="40710" x="7138988" y="3762375"/>
          <p14:tracePt t="40727" x="7219950" y="3752850"/>
          <p14:tracePt t="40743" x="7300913" y="3738563"/>
          <p14:tracePt t="40760" x="7377113" y="3719513"/>
          <p14:tracePt t="40777" x="7443788" y="3705225"/>
          <p14:tracePt t="40794" x="7515225" y="3671888"/>
          <p14:tracePt t="40810" x="7572375" y="3648075"/>
          <p14:tracePt t="40827" x="7615238" y="3619500"/>
          <p14:tracePt t="40844" x="7648575" y="3590925"/>
          <p14:tracePt t="40860" x="7677150" y="3567113"/>
          <p14:tracePt t="40878" x="7705725" y="3505200"/>
          <p14:tracePt t="40894" x="7724775" y="3452813"/>
          <p14:tracePt t="40910" x="7739063" y="3386138"/>
          <p14:tracePt t="40926" x="7758113" y="3305175"/>
          <p14:tracePt t="40943" x="7772400" y="3233738"/>
          <p14:tracePt t="40960" x="7791450" y="3162300"/>
          <p14:tracePt t="40976" x="7796213" y="3090863"/>
          <p14:tracePt t="40993" x="7796213" y="3038475"/>
          <p14:tracePt t="41010" x="7796213" y="2981325"/>
          <p14:tracePt t="41027" x="7796213" y="2933700"/>
          <p14:tracePt t="41043" x="7796213" y="2886075"/>
          <p14:tracePt t="41060" x="7786688" y="2847975"/>
          <p14:tracePt t="41076" x="7767638" y="2805113"/>
          <p14:tracePt t="41094" x="7729538" y="2719388"/>
          <p14:tracePt t="41111" x="7705725" y="2686050"/>
          <p14:tracePt t="41127" x="7681913" y="2657475"/>
          <p14:tracePt t="41144" x="7648575" y="2628900"/>
          <p14:tracePt t="41160" x="7605713" y="2595563"/>
          <p14:tracePt t="41177" x="7553325" y="2566988"/>
          <p14:tracePt t="41193" x="7491413" y="2538413"/>
          <p14:tracePt t="41210" x="7419975" y="2509838"/>
          <p14:tracePt t="41227" x="7343775" y="2490788"/>
          <p14:tracePt t="41232" x="7300913" y="2481263"/>
          <p14:tracePt t="41244" x="7258050" y="2476500"/>
          <p14:tracePt t="41260" x="7186613" y="2462213"/>
          <p14:tracePt t="41277" x="7091363" y="2452688"/>
          <p14:tracePt t="41294" x="7038975" y="2452688"/>
          <p14:tracePt t="41310" x="6986588" y="2447925"/>
          <p14:tracePt t="41327" x="6934200" y="2447925"/>
          <p14:tracePt t="41344" x="6896100" y="2447925"/>
          <p14:tracePt t="41360" x="6843713" y="2443163"/>
          <p14:tracePt t="41377" x="6805613" y="2443163"/>
          <p14:tracePt t="41393" x="6762750" y="2443163"/>
          <p14:tracePt t="41410" x="6705600" y="2443163"/>
          <p14:tracePt t="41426" x="6643688" y="2438400"/>
          <p14:tracePt t="41444" x="6581775" y="2438400"/>
          <p14:tracePt t="41460" x="6519863" y="2438400"/>
          <p14:tracePt t="41478" x="6443663" y="2447925"/>
          <p14:tracePt t="41494" x="6376988" y="2476500"/>
          <p14:tracePt t="41510" x="6319838" y="2505075"/>
          <p14:tracePt t="41527" x="6276975" y="2543175"/>
          <p14:tracePt t="41543" x="6215063" y="2595563"/>
          <p14:tracePt t="41559" x="6162675" y="2667000"/>
          <p14:tracePt t="41577" x="6091238" y="2757488"/>
          <p14:tracePt t="41593" x="6024563" y="2847975"/>
          <p14:tracePt t="41610" x="5948363" y="2952750"/>
          <p14:tracePt t="41627" x="5881688" y="3033713"/>
          <p14:tracePt t="41643" x="5838825" y="3109913"/>
          <p14:tracePt t="41660" x="5810250" y="3167063"/>
          <p14:tracePt t="41678" x="5791200" y="3219450"/>
          <p14:tracePt t="41694" x="5791200" y="3243263"/>
          <p14:tracePt t="41710" x="5791200" y="3262313"/>
          <p14:tracePt t="41727" x="5791200" y="3286125"/>
          <p14:tracePt t="41743" x="5815013" y="3328988"/>
          <p14:tracePt t="41760" x="5834063" y="3381375"/>
          <p14:tracePt t="41777" x="5881688" y="3438525"/>
          <p14:tracePt t="41794" x="5929313" y="3481388"/>
          <p14:tracePt t="41810" x="5995988" y="3524250"/>
          <p14:tracePt t="41827" x="6062663" y="3557588"/>
          <p14:tracePt t="41844" x="6124575" y="3586163"/>
          <p14:tracePt t="41860" x="6191250" y="3600450"/>
          <p14:tracePt t="41878" x="6305550" y="3624263"/>
          <p14:tracePt t="41894" x="6400800" y="3648075"/>
          <p14:tracePt t="41910" x="6524625" y="3662363"/>
          <p14:tracePt t="41926" x="6648450" y="3676650"/>
          <p14:tracePt t="41943" x="6781800" y="3690938"/>
          <p14:tracePt t="41960" x="6910388" y="3695700"/>
          <p14:tracePt t="41976" x="7029450" y="3700463"/>
          <p14:tracePt t="41993" x="7124700" y="3700463"/>
          <p14:tracePt t="42010" x="7205663" y="3700463"/>
          <p14:tracePt t="42026" x="7291388" y="3700463"/>
          <p14:tracePt t="42043" x="7386638" y="3676650"/>
          <p14:tracePt t="42060" x="7505700" y="3633788"/>
          <p14:tracePt t="42077" x="7639050" y="3567113"/>
          <p14:tracePt t="42094" x="7715250" y="3509963"/>
          <p14:tracePt t="42110" x="7762875" y="3443288"/>
          <p14:tracePt t="42127" x="7786688" y="3371850"/>
          <p14:tracePt t="42144" x="7810500" y="3271838"/>
          <p14:tracePt t="42160" x="7829550" y="3152775"/>
          <p14:tracePt t="42177" x="7858125" y="3048000"/>
          <p14:tracePt t="42194" x="7881938" y="2962275"/>
          <p14:tracePt t="42210" x="7905750" y="2900363"/>
          <p14:tracePt t="42227" x="7924800" y="2852738"/>
          <p14:tracePt t="42232" x="7929563" y="2838450"/>
          <p14:tracePt t="42243" x="7929563" y="2824163"/>
          <p14:tracePt t="42260" x="7929563" y="2800350"/>
          <p14:tracePt t="42278" x="7910513" y="2747963"/>
          <p14:tracePt t="42294" x="7862888" y="2714625"/>
          <p14:tracePt t="42311" x="7777163" y="2671763"/>
          <p14:tracePt t="42327" x="7610475" y="2595563"/>
          <p14:tracePt t="42343" x="7434263" y="2533650"/>
          <p14:tracePt t="42360" x="7267575" y="2495550"/>
          <p14:tracePt t="42377" x="7129463" y="2466975"/>
          <p14:tracePt t="42393" x="7024688" y="2447925"/>
          <p14:tracePt t="42410" x="6953250" y="2438400"/>
          <p14:tracePt t="42427" x="6896100" y="2438400"/>
          <p14:tracePt t="42443" x="6853238" y="2438400"/>
          <p14:tracePt t="42460" x="6805613" y="2438400"/>
          <p14:tracePt t="42477" x="6715125" y="2438400"/>
          <p14:tracePt t="42494" x="6667500" y="2447925"/>
          <p14:tracePt t="42510" x="6619875" y="2457450"/>
          <p14:tracePt t="42526" x="6586538" y="2490788"/>
          <p14:tracePt t="42543" x="6548438" y="2552700"/>
          <p14:tracePt t="42560" x="6505575" y="2628900"/>
          <p14:tracePt t="42576" x="6477000" y="2705100"/>
          <p14:tracePt t="42593" x="6453188" y="2800350"/>
          <p14:tracePt t="42609" x="6438900" y="2871788"/>
          <p14:tracePt t="42627" x="6429375" y="2943225"/>
          <p14:tracePt t="42643" x="6429375" y="3000375"/>
          <p14:tracePt t="42660" x="6429375" y="3048000"/>
          <p14:tracePt t="42678" x="6429375" y="3100388"/>
          <p14:tracePt t="42693" x="6448425" y="3143250"/>
          <p14:tracePt t="42710" x="6457950" y="3186113"/>
          <p14:tracePt t="42727" x="6457950" y="3214688"/>
          <p14:tracePt t="42743" x="6462713" y="3233738"/>
          <p14:tracePt t="42760" x="6467475" y="3252788"/>
          <p14:tracePt t="42777" x="6467475" y="3281363"/>
          <p14:tracePt t="42793" x="6472238" y="3295650"/>
          <p14:tracePt t="42810" x="6472238" y="3305175"/>
          <p14:tracePt t="42827" x="6472238" y="3314700"/>
          <p14:tracePt t="42843" x="6477000" y="3328988"/>
          <p14:tracePt t="42860" x="6491288" y="3352800"/>
          <p14:tracePt t="42878" x="6515100" y="3390900"/>
          <p14:tracePt t="42894" x="6529388" y="3414713"/>
          <p14:tracePt t="42911" x="6548438" y="3433763"/>
          <p14:tracePt t="42926" x="6577013" y="3448050"/>
          <p14:tracePt t="42943" x="6605588" y="3467100"/>
          <p14:tracePt t="42960" x="6638925" y="3481388"/>
          <p14:tracePt t="42977" x="6662738" y="3490913"/>
          <p14:tracePt t="42993" x="6691313" y="3495675"/>
          <p14:tracePt t="43010" x="6734175" y="3500438"/>
          <p14:tracePt t="43027" x="6762750" y="3505200"/>
          <p14:tracePt t="43043" x="6810375" y="3509963"/>
          <p14:tracePt t="43060" x="6867525" y="3514725"/>
          <p14:tracePt t="43077" x="6962775" y="3514725"/>
          <p14:tracePt t="43093" x="7034213" y="3514725"/>
          <p14:tracePt t="43110" x="7096125" y="3514725"/>
          <p14:tracePt t="43126" x="7129463" y="3514725"/>
          <p14:tracePt t="43143" x="7167563" y="3514725"/>
          <p14:tracePt t="43160" x="7186613" y="3514725"/>
          <p14:tracePt t="43177" x="7210425" y="3505200"/>
          <p14:tracePt t="43193" x="7229475" y="3505200"/>
          <p14:tracePt t="43210" x="7239000" y="3500438"/>
          <p14:tracePt t="43464" x="7243763" y="3500438"/>
          <p14:tracePt t="43473" x="7253288" y="3500438"/>
          <p14:tracePt t="43480" x="7262813" y="3495675"/>
          <p14:tracePt t="43493" x="7296150" y="3495675"/>
          <p14:tracePt t="43510" x="7362825" y="3495675"/>
          <p14:tracePt t="43526" x="7429500" y="3495675"/>
          <p14:tracePt t="43543" x="7500938" y="3490913"/>
          <p14:tracePt t="43560" x="7577138" y="3471863"/>
          <p14:tracePt t="43576" x="7620000" y="3443288"/>
          <p14:tracePt t="43593" x="7653338" y="3386138"/>
          <p14:tracePt t="43610" x="7691438" y="3262313"/>
          <p14:tracePt t="43627" x="7715250" y="3128963"/>
          <p14:tracePt t="43643" x="7724775" y="3028950"/>
          <p14:tracePt t="43660" x="7720013" y="2947988"/>
          <p14:tracePt t="43678" x="7662863" y="2847975"/>
          <p14:tracePt t="43694" x="7591425" y="2786063"/>
          <p14:tracePt t="43710" x="7519988" y="2743200"/>
          <p14:tracePt t="43727" x="7448550" y="2719388"/>
          <p14:tracePt t="43744" x="7372350" y="2686050"/>
          <p14:tracePt t="43760" x="7291388" y="2667000"/>
          <p14:tracePt t="43777" x="7196138" y="2652713"/>
          <p14:tracePt t="43794" x="7067550" y="2647950"/>
          <p14:tracePt t="43810" x="6943725" y="2647950"/>
          <p14:tracePt t="43827" x="6824663" y="2667000"/>
          <p14:tracePt t="43844" x="6700838" y="2714625"/>
          <p14:tracePt t="43860" x="6586538" y="2771775"/>
          <p14:tracePt t="43877" x="6367463" y="2947988"/>
          <p14:tracePt t="43893" x="6253163" y="3052763"/>
          <p14:tracePt t="43910" x="6167438" y="3128963"/>
          <p14:tracePt t="43926" x="6105525" y="3195638"/>
          <p14:tracePt t="43943" x="6081713" y="3233738"/>
          <p14:tracePt t="43960" x="6072188" y="3267075"/>
          <p14:tracePt t="43976" x="6072188" y="3295650"/>
          <p14:tracePt t="43993" x="6076950" y="3333750"/>
          <p14:tracePt t="44010" x="6096000" y="3381375"/>
          <p14:tracePt t="44026" x="6129338" y="3433763"/>
          <p14:tracePt t="44043" x="6191250" y="3476625"/>
          <p14:tracePt t="44060" x="6257925" y="3509963"/>
          <p14:tracePt t="44078" x="6396038" y="3548063"/>
          <p14:tracePt t="44093" x="6467475" y="3552825"/>
          <p14:tracePt t="44110" x="6567488" y="3552825"/>
          <p14:tracePt t="44127" x="6696075" y="3552825"/>
          <p14:tracePt t="44144" x="6815138" y="3548063"/>
          <p14:tracePt t="44160" x="6934200" y="3533775"/>
          <p14:tracePt t="44177" x="7038975" y="3509963"/>
          <p14:tracePt t="44194" x="7129463" y="3486150"/>
          <p14:tracePt t="44210" x="7215188" y="3452813"/>
          <p14:tracePt t="44227" x="7300913" y="3409950"/>
          <p14:tracePt t="44244" x="7381875" y="3362325"/>
          <p14:tracePt t="44249" x="7429500" y="3328988"/>
          <p14:tracePt t="44260" x="7462838" y="3300413"/>
          <p14:tracePt t="44278" x="7567613" y="3205163"/>
          <p14:tracePt t="44294" x="7615238" y="3152775"/>
          <p14:tracePt t="44310" x="7639050" y="3105150"/>
          <p14:tracePt t="44327" x="7643813" y="3071813"/>
          <p14:tracePt t="44344" x="7643813" y="3014663"/>
          <p14:tracePt t="44360" x="7629525" y="2947988"/>
          <p14:tracePt t="44377" x="7600950" y="2900363"/>
          <p14:tracePt t="44394" x="7567613" y="2862263"/>
          <p14:tracePt t="44410" x="7519988" y="2828925"/>
          <p14:tracePt t="44427" x="7458075" y="2786063"/>
          <p14:tracePt t="44443" x="7381875" y="2757488"/>
          <p14:tracePt t="44460" x="7296150" y="2733675"/>
          <p14:tracePt t="44477" x="7153275" y="2695575"/>
          <p14:tracePt t="44493" x="7038975" y="2690813"/>
          <p14:tracePt t="44510" x="6915150" y="2690813"/>
          <p14:tracePt t="44526" x="6805613" y="2719388"/>
          <p14:tracePt t="44544" x="6734175" y="2757488"/>
          <p14:tracePt t="44560" x="6672263" y="2843213"/>
          <p14:tracePt t="44577" x="6619875" y="2943225"/>
          <p14:tracePt t="44594" x="6591300" y="3038475"/>
          <p14:tracePt t="44610" x="6562725" y="3143250"/>
          <p14:tracePt t="44627" x="6553200" y="3233738"/>
          <p14:tracePt t="44643" x="6553200" y="3314700"/>
          <p14:tracePt t="44660" x="6567488" y="3381375"/>
          <p14:tracePt t="44677" x="6653213" y="3462338"/>
          <p14:tracePt t="44693" x="6743700" y="3490913"/>
          <p14:tracePt t="44710" x="6858000" y="3500438"/>
          <p14:tracePt t="44727" x="6938963" y="3500438"/>
          <p14:tracePt t="44744" x="6967538" y="3500438"/>
          <p14:tracePt t="45272" x="6972300" y="3500438"/>
          <p14:tracePt t="45280" x="6977063" y="3495675"/>
          <p14:tracePt t="45288" x="6986588" y="3481388"/>
          <p14:tracePt t="45299" x="6996113" y="3471863"/>
          <p14:tracePt t="45316" x="7034213" y="3433763"/>
          <p14:tracePt t="45332" x="7081838" y="3395663"/>
          <p14:tracePt t="45360" x="7138988" y="3362325"/>
          <p14:tracePt t="45377" x="7143750" y="3357563"/>
          <p14:tracePt t="45752" x="7143750" y="3362325"/>
          <p14:tracePt t="45761" x="7138988" y="3371850"/>
          <p14:tracePt t="45769" x="7134225" y="3376613"/>
          <p14:tracePt t="45782" x="7124700" y="3390900"/>
          <p14:tracePt t="45798" x="7110413" y="3400425"/>
          <p14:tracePt t="45827" x="7105650" y="3405188"/>
          <p14:tracePt t="46257" x="7100888" y="3405188"/>
          <p14:tracePt t="47225" x="7096125" y="3405188"/>
          <p14:tracePt t="47267" x="7091363" y="3405188"/>
          <p14:tracePt t="47320" x="7086600" y="3405188"/>
          <p14:tracePt t="47328" x="7081838" y="3405188"/>
          <p14:tracePt t="47337" x="7077075" y="3405188"/>
          <p14:tracePt t="47361" x="7067550" y="3405188"/>
          <p14:tracePt t="47377" x="7062788" y="3405188"/>
          <p14:tracePt t="47394" x="7058025" y="3405188"/>
          <p14:tracePt t="47427" x="7053263" y="3405188"/>
          <p14:tracePt t="47444" x="7043738" y="3405188"/>
          <p14:tracePt t="47460" x="7029450" y="3405188"/>
          <p14:tracePt t="47478" x="7015163" y="3405188"/>
          <p14:tracePt t="47494" x="7010400" y="3405188"/>
          <p14:tracePt t="47550" x="7005638" y="3405188"/>
          <p14:tracePt t="47566" x="7000875" y="3405188"/>
          <p14:tracePt t="47584" x="6991350" y="3405188"/>
          <p14:tracePt t="47601" x="6986588" y="3405188"/>
          <p14:tracePt t="47608" x="6977063" y="3405188"/>
          <p14:tracePt t="47616" x="6972300" y="3405188"/>
          <p14:tracePt t="47627" x="6967538" y="3405188"/>
          <p14:tracePt t="47643" x="6938963" y="3409950"/>
          <p14:tracePt t="47660" x="6915150" y="3409950"/>
          <p14:tracePt t="47677" x="6881813" y="3414713"/>
          <p14:tracePt t="47693" x="6872288" y="3414713"/>
          <p14:tracePt t="47728" x="6862763" y="3414713"/>
          <p14:tracePt t="47743" x="6853238" y="3376613"/>
          <p14:tracePt t="47749" x="6838950" y="3348038"/>
          <p14:tracePt t="47760" x="6815138" y="3309938"/>
          <p14:tracePt t="47776" x="6781800" y="3238500"/>
          <p14:tracePt t="47793" x="6757988" y="3171825"/>
          <p14:tracePt t="47809" x="6729413" y="3090863"/>
          <p14:tracePt t="47826" x="6710363" y="3024188"/>
          <p14:tracePt t="47843" x="6705600" y="3005138"/>
          <p14:tracePt t="47860" x="6705600" y="3000375"/>
          <p14:tracePt t="47878" x="6696075" y="3000375"/>
          <p14:tracePt t="47893" x="6691313" y="3000375"/>
          <p14:tracePt t="47910" x="6686550" y="3000375"/>
          <p14:tracePt t="47966" x="6691313" y="3000375"/>
          <p14:tracePt t="47975" x="6705600" y="2995613"/>
          <p14:tracePt t="47983" x="6715125" y="2995613"/>
          <p14:tracePt t="47993" x="6734175" y="2990850"/>
          <p14:tracePt t="48010" x="6791325" y="2976563"/>
          <p14:tracePt t="48026" x="6867525" y="2957513"/>
          <p14:tracePt t="48043" x="6967538" y="2933700"/>
          <p14:tracePt t="48060" x="7077075" y="2909888"/>
          <p14:tracePt t="48077" x="7210425" y="2890838"/>
          <p14:tracePt t="48094" x="7253288" y="2890838"/>
          <p14:tracePt t="48111" x="7258050" y="2890838"/>
          <p14:tracePt t="48144" x="7258050" y="2914650"/>
          <p14:tracePt t="48160" x="7258050" y="2962275"/>
          <p14:tracePt t="48177" x="7243763" y="3038475"/>
          <p14:tracePt t="48194" x="7234238" y="3095625"/>
          <p14:tracePt t="48210" x="7224713" y="3133725"/>
          <p14:tracePt t="48227" x="7219950" y="3148013"/>
          <p14:tracePt t="48243" x="7219950" y="3152775"/>
          <p14:tracePt t="48265" x="7219950" y="3157538"/>
          <p14:tracePt t="48279" x="7210425" y="3167063"/>
          <p14:tracePt t="48293" x="7181850" y="3181350"/>
          <p14:tracePt t="48310" x="7129463" y="3190875"/>
          <p14:tracePt t="48327" x="7058025" y="3200400"/>
          <p14:tracePt t="48344" x="6962775" y="3205163"/>
          <p14:tracePt t="48360" x="6862763" y="3205163"/>
          <p14:tracePt t="48377" x="6791325" y="3205163"/>
          <p14:tracePt t="48394" x="6743700" y="3214688"/>
          <p14:tracePt t="48410" x="6719888" y="3214688"/>
          <p14:tracePt t="48427" x="6710363" y="3224213"/>
          <p14:tracePt t="48443" x="6700838" y="3238500"/>
          <p14:tracePt t="48460" x="6691313" y="3262313"/>
          <p14:tracePt t="48478" x="6686550" y="3309938"/>
          <p14:tracePt t="48493" x="6686550" y="3348038"/>
          <p14:tracePt t="48510" x="6710363" y="3386138"/>
          <p14:tracePt t="48527" x="6729413" y="3409950"/>
          <p14:tracePt t="48543" x="6772275" y="3433763"/>
          <p14:tracePt t="48559" x="6838950" y="3452813"/>
          <p14:tracePt t="48576" x="6905625" y="3452813"/>
          <p14:tracePt t="48593" x="6948488" y="3452813"/>
          <p14:tracePt t="48609" x="6977063" y="3452813"/>
          <p14:tracePt t="48627" x="6996113" y="3452813"/>
          <p14:tracePt t="48643" x="7005638" y="3452813"/>
          <p14:tracePt t="48660" x="7034213" y="3452813"/>
          <p14:tracePt t="48676" x="7053263" y="3452813"/>
          <p14:tracePt t="48693" x="7086600" y="3467100"/>
          <p14:tracePt t="48710" x="7115175" y="3476625"/>
          <p14:tracePt t="48726" x="7138988" y="3486150"/>
          <p14:tracePt t="48744" x="7143750" y="3486150"/>
          <p14:tracePt t="48784" x="7143750" y="3490913"/>
          <p14:tracePt t="48799" x="7129463" y="3490913"/>
          <p14:tracePt t="48806" x="7115175" y="3490913"/>
          <p14:tracePt t="48814" x="7105650" y="3495675"/>
          <p14:tracePt t="48826" x="7096125" y="3495675"/>
          <p14:tracePt t="48843" x="7067550" y="3495675"/>
          <p14:tracePt t="48860" x="7043738" y="3500438"/>
          <p14:tracePt t="48877" x="7010400" y="3500438"/>
          <p14:tracePt t="48893" x="7005638" y="3500438"/>
          <p14:tracePt t="48910" x="6996113" y="3500438"/>
          <p14:tracePt t="48926" x="6991350" y="3500438"/>
          <p14:tracePt t="48943" x="6981825" y="3505200"/>
          <p14:tracePt t="48959" x="6958013" y="3509963"/>
          <p14:tracePt t="48976" x="6934200" y="3524250"/>
          <p14:tracePt t="48993" x="6905625" y="3543300"/>
          <p14:tracePt t="49010" x="6886575" y="3557588"/>
          <p14:tracePt t="49026" x="6872288" y="3562350"/>
          <p14:tracePt t="49070" x="6862763" y="3548063"/>
          <p14:tracePt t="49079" x="6853238" y="3529013"/>
          <p14:tracePt t="49093" x="6819900" y="3467100"/>
          <p14:tracePt t="49110" x="6762750" y="3386138"/>
          <p14:tracePt t="49127" x="6696075" y="3276600"/>
          <p14:tracePt t="49144" x="6624638" y="3143250"/>
          <p14:tracePt t="49160" x="6572250" y="2995613"/>
          <p14:tracePt t="49177" x="6538913" y="2857500"/>
          <p14:tracePt t="49193" x="6524625" y="2719388"/>
          <p14:tracePt t="49210" x="6524625" y="2609850"/>
          <p14:tracePt t="49227" x="6524625" y="2524125"/>
          <p14:tracePt t="49244" x="6524625" y="2452688"/>
          <p14:tracePt t="49248" x="6524625" y="2433638"/>
          <p14:tracePt t="49260" x="6524625" y="2414588"/>
          <p14:tracePt t="49277" x="6500813" y="2381250"/>
          <p14:tracePt t="49293" x="6477000" y="2357438"/>
          <p14:tracePt t="49310" x="6453188" y="2347913"/>
          <p14:tracePt t="49326" x="6438900" y="2333625"/>
          <p14:tracePt t="49343" x="6424613" y="2314575"/>
          <p14:tracePt t="49360" x="6415088" y="2276475"/>
          <p14:tracePt t="49376" x="6400800" y="2252663"/>
          <p14:tracePt t="49393" x="6376988" y="2233613"/>
          <p14:tracePt t="49410" x="6357938" y="2214563"/>
          <p14:tracePt t="49426" x="6348413" y="2209800"/>
          <p14:tracePt t="49526" x="6353175" y="2209800"/>
          <p14:tracePt t="49534" x="6376988" y="2209800"/>
          <p14:tracePt t="49543" x="6415088" y="2209800"/>
          <p14:tracePt t="49560" x="6538913" y="2209800"/>
          <p14:tracePt t="49577" x="6724650" y="2205038"/>
          <p14:tracePt t="49593" x="6972300" y="2195513"/>
          <p14:tracePt t="49610" x="7215188" y="2176463"/>
          <p14:tracePt t="49626" x="7410450" y="2147888"/>
          <p14:tracePt t="49643" x="7524750" y="2138363"/>
          <p14:tracePt t="49660" x="7581900" y="2128838"/>
          <p14:tracePt t="49676" x="7591425" y="2128838"/>
          <p14:tracePt t="49729" x="7586663" y="2128838"/>
          <p14:tracePt t="49738" x="7577138" y="2128838"/>
          <p14:tracePt t="49746" x="7562850" y="2128838"/>
          <p14:tracePt t="49760" x="7500938" y="2128838"/>
          <p14:tracePt t="49777" x="7400925" y="2133600"/>
          <p14:tracePt t="49794" x="7272338" y="2138363"/>
          <p14:tracePt t="49810" x="7148513" y="2138363"/>
          <p14:tracePt t="49827" x="7015163" y="2138363"/>
          <p14:tracePt t="49843" x="6905625" y="2133600"/>
          <p14:tracePt t="49860" x="6829425" y="2124075"/>
          <p14:tracePt t="49877" x="6743700" y="2114550"/>
          <p14:tracePt t="49893" x="6729413" y="2114550"/>
          <p14:tracePt t="49910" x="6657975" y="2109788"/>
          <p14:tracePt t="49926" x="6596063" y="2109788"/>
          <p14:tracePt t="49944" x="6553200" y="2109788"/>
          <p14:tracePt t="49960" x="6529388" y="2109788"/>
          <p14:tracePt t="49994" x="6529388" y="2114550"/>
          <p14:tracePt t="50010" x="6567488" y="2124075"/>
          <p14:tracePt t="50027" x="6686550" y="2152650"/>
          <p14:tracePt t="50044" x="6838950" y="2176463"/>
          <p14:tracePt t="50060" x="7048500" y="2200275"/>
          <p14:tracePt t="50076" x="7291388" y="2228850"/>
          <p14:tracePt t="50094" x="7662863" y="2281238"/>
          <p14:tracePt t="50110" x="7834313" y="2305050"/>
          <p14:tracePt t="50127" x="7924800" y="2328863"/>
          <p14:tracePt t="50144" x="7948613" y="2343150"/>
          <p14:tracePt t="50161" x="7948613" y="2352675"/>
          <p14:tracePt t="50177" x="7939088" y="2376488"/>
          <p14:tracePt t="50193" x="7886700" y="2452688"/>
          <p14:tracePt t="50210" x="7743825" y="2600325"/>
          <p14:tracePt t="50227" x="7539038" y="2824163"/>
          <p14:tracePt t="50233" x="7419975" y="2971800"/>
          <p14:tracePt t="50243" x="7310438" y="3114675"/>
          <p14:tracePt t="50261" x="6972300" y="3562350"/>
          <p14:tracePt t="50277" x="6772275" y="3814763"/>
          <p14:tracePt t="50296" x="6667500" y="3971925"/>
          <p14:tracePt t="50310" x="6596063" y="4119563"/>
          <p14:tracePt t="50327" x="6572250" y="4214813"/>
          <p14:tracePt t="50344" x="6557963" y="4291013"/>
          <p14:tracePt t="50360" x="6557963" y="4324350"/>
          <p14:tracePt t="50377" x="6562725" y="4329113"/>
          <p14:tracePt t="50394" x="6562725" y="4333875"/>
          <p14:tracePt t="50410" x="6572250" y="4333875"/>
          <p14:tracePt t="50583" x="6586538" y="4333875"/>
          <p14:tracePt t="50592" x="6605588" y="4333875"/>
          <p14:tracePt t="50599" x="6634163" y="4338638"/>
          <p14:tracePt t="50610" x="6662738" y="4338638"/>
          <p14:tracePt t="50627" x="6757988" y="4338638"/>
          <p14:tracePt t="50643" x="6886575" y="4314825"/>
          <p14:tracePt t="50660" x="6991350" y="4291013"/>
          <p14:tracePt t="50678" x="7067550" y="4252913"/>
          <p14:tracePt t="50693" x="7067550" y="4248150"/>
          <p14:tracePt t="50710" x="7058025" y="4229100"/>
          <p14:tracePt t="50727" x="7000875" y="4191000"/>
          <p14:tracePt t="50743" x="6934200" y="4162425"/>
          <p14:tracePt t="50760" x="6853238" y="4129088"/>
          <p14:tracePt t="50776" x="6767513" y="4105275"/>
          <p14:tracePt t="50793" x="6662738" y="4086225"/>
          <p14:tracePt t="50810" x="6557963" y="4071938"/>
          <p14:tracePt t="50826" x="6424613" y="4071938"/>
          <p14:tracePt t="50843" x="6310313" y="4076700"/>
          <p14:tracePt t="50860" x="6205538" y="4105275"/>
          <p14:tracePt t="50876" x="6091238" y="4157663"/>
          <p14:tracePt t="50894" x="5972175" y="4238625"/>
          <p14:tracePt t="50910" x="5900738" y="4276725"/>
          <p14:tracePt t="50926" x="5853113" y="4300538"/>
          <p14:tracePt t="50943" x="5810250" y="4310063"/>
          <p14:tracePt t="50960" x="5781675" y="4314825"/>
          <p14:tracePt t="50977" x="5748338" y="4329113"/>
          <p14:tracePt t="50993" x="5719763" y="4348163"/>
          <p14:tracePt t="51010" x="5691188" y="4376738"/>
          <p14:tracePt t="51027" x="5662613" y="4414838"/>
          <p14:tracePt t="51043" x="5653088" y="4443413"/>
          <p14:tracePt t="51060" x="5648325" y="4471988"/>
          <p14:tracePt t="51077" x="5648325" y="4533900"/>
          <p14:tracePt t="51093" x="5653088" y="4576763"/>
          <p14:tracePt t="51110" x="5662613" y="4624388"/>
          <p14:tracePt t="51126" x="5700713" y="4691063"/>
          <p14:tracePt t="51143" x="5753100" y="4781550"/>
          <p14:tracePt t="51160" x="5824538" y="4857750"/>
          <p14:tracePt t="51177" x="5910263" y="4933950"/>
          <p14:tracePt t="51194" x="5991225" y="4995863"/>
          <p14:tracePt t="51210" x="6057900" y="5029200"/>
          <p14:tracePt t="51227" x="6124575" y="5048250"/>
          <p14:tracePt t="51232" x="6148388" y="5057775"/>
          <p14:tracePt t="51243" x="6172200" y="5062538"/>
          <p14:tracePt t="51261" x="6262688" y="5072063"/>
          <p14:tracePt t="51277" x="6353175" y="5072063"/>
          <p14:tracePt t="51294" x="6481763" y="5076825"/>
          <p14:tracePt t="51310" x="6605588" y="5076825"/>
          <p14:tracePt t="51327" x="6705600" y="5076825"/>
          <p14:tracePt t="51343" x="6791325" y="5076825"/>
          <p14:tracePt t="51360" x="6858000" y="5076825"/>
          <p14:tracePt t="51377" x="6929438" y="5076825"/>
          <p14:tracePt t="51393" x="7005638" y="5076825"/>
          <p14:tracePt t="51410" x="7115175" y="5076825"/>
          <p14:tracePt t="51427" x="7286625" y="5057775"/>
          <p14:tracePt t="51444" x="7486650" y="5024438"/>
          <p14:tracePt t="51460" x="7681913" y="4995863"/>
          <p14:tracePt t="51478" x="7862888" y="4953000"/>
          <p14:tracePt t="51494" x="7953375" y="4924425"/>
          <p14:tracePt t="51510" x="8020050" y="4895850"/>
          <p14:tracePt t="51527" x="8058150" y="4852988"/>
          <p14:tracePt t="51543" x="8086725" y="4781550"/>
          <p14:tracePt t="51560" x="8105775" y="4695825"/>
          <p14:tracePt t="51576" x="8105775" y="4614863"/>
          <p14:tracePt t="51593" x="8105775" y="4543425"/>
          <p14:tracePt t="51610" x="8101013" y="4471988"/>
          <p14:tracePt t="51627" x="8077200" y="4405313"/>
          <p14:tracePt t="51643" x="8029575" y="4333875"/>
          <p14:tracePt t="51659" x="7958138" y="4281488"/>
          <p14:tracePt t="51677" x="7810500" y="4200525"/>
          <p14:tracePt t="51693" x="7639050" y="4138613"/>
          <p14:tracePt t="51710" x="7500938" y="4110038"/>
          <p14:tracePt t="51726" x="7367588" y="4090988"/>
          <p14:tracePt t="51744" x="7234238" y="4071938"/>
          <p14:tracePt t="51760" x="7100888" y="4062413"/>
          <p14:tracePt t="51776" x="6972300" y="4057650"/>
          <p14:tracePt t="51793" x="6834188" y="4052888"/>
          <p14:tracePt t="51809" x="6710363" y="4052888"/>
          <p14:tracePt t="51826" x="6577013" y="4062413"/>
          <p14:tracePt t="51843" x="6462713" y="4067175"/>
          <p14:tracePt t="51860" x="6372225" y="4076700"/>
          <p14:tracePt t="51876" x="6281738" y="4090988"/>
          <p14:tracePt t="51893" x="6172200" y="4119563"/>
          <p14:tracePt t="51909" x="6076950" y="4143375"/>
          <p14:tracePt t="51926" x="5991225" y="4171950"/>
          <p14:tracePt t="51943" x="5915025" y="4214813"/>
          <p14:tracePt t="51960" x="5848350" y="4248150"/>
          <p14:tracePt t="51977" x="5795963" y="4281488"/>
          <p14:tracePt t="51993" x="5753100" y="4324350"/>
          <p14:tracePt t="52010" x="5724525" y="4371975"/>
          <p14:tracePt t="52027" x="5710238" y="4414838"/>
          <p14:tracePt t="52043" x="5710238" y="4471988"/>
          <p14:tracePt t="52060" x="5724525" y="4538663"/>
          <p14:tracePt t="52076" x="5767388" y="4610100"/>
          <p14:tracePt t="52094" x="5853113" y="4691063"/>
          <p14:tracePt t="52111" x="5924550" y="4752975"/>
          <p14:tracePt t="52127" x="6000750" y="4810125"/>
          <p14:tracePt t="52143" x="6076950" y="4852988"/>
          <p14:tracePt t="52160" x="6134100" y="4886325"/>
          <p14:tracePt t="52177" x="6191250" y="4914900"/>
          <p14:tracePt t="52194" x="6229350" y="4938713"/>
          <p14:tracePt t="52210" x="6276975" y="4957763"/>
          <p14:tracePt t="52227" x="6338888" y="4981575"/>
          <p14:tracePt t="52243" x="6410325" y="4991100"/>
          <p14:tracePt t="52248" x="6462713" y="4995863"/>
          <p14:tracePt t="52259" x="6500813" y="5000625"/>
          <p14:tracePt t="52276" x="6610350" y="5010150"/>
          <p14:tracePt t="52293" x="6710363" y="5010150"/>
          <p14:tracePt t="52310" x="6781800" y="5014913"/>
          <p14:tracePt t="52327" x="6862763" y="5014913"/>
          <p14:tracePt t="52343" x="6981825" y="5014913"/>
          <p14:tracePt t="52360" x="7124700" y="5000625"/>
          <p14:tracePt t="52377" x="7291388" y="4981575"/>
          <p14:tracePt t="52394" x="7419975" y="4967288"/>
          <p14:tracePt t="52410" x="7524750" y="4948238"/>
          <p14:tracePt t="52427" x="7596188" y="4924425"/>
          <p14:tracePt t="52443" x="7667625" y="4895850"/>
          <p14:tracePt t="52460" x="7743825" y="4867275"/>
          <p14:tracePt t="52478" x="7858125" y="4795838"/>
          <p14:tracePt t="52493" x="7943850" y="4719638"/>
          <p14:tracePt t="52511" x="7996238" y="4648200"/>
          <p14:tracePt t="52527" x="8010525" y="4600575"/>
          <p14:tracePt t="52543" x="8020050" y="4524375"/>
          <p14:tracePt t="52560" x="8020050" y="4452938"/>
          <p14:tracePt t="52576" x="8010525" y="4381500"/>
          <p14:tracePt t="52593" x="7967663" y="4310063"/>
          <p14:tracePt t="52610" x="7881938" y="4219575"/>
          <p14:tracePt t="52627" x="7739063" y="4119563"/>
          <p14:tracePt t="52644" x="7548563" y="4014788"/>
          <p14:tracePt t="52660" x="7348538" y="3948113"/>
          <p14:tracePt t="52677" x="7043738" y="3881438"/>
          <p14:tracePt t="52694" x="6819900" y="3838575"/>
          <p14:tracePt t="52710" x="6662738" y="3814763"/>
          <p14:tracePt t="52727" x="6543675" y="3810000"/>
          <p14:tracePt t="52743" x="6429375" y="3810000"/>
          <p14:tracePt t="52760" x="6291263" y="3838575"/>
          <p14:tracePt t="52776" x="6143625" y="3886200"/>
          <p14:tracePt t="52793" x="5986463" y="3957638"/>
          <p14:tracePt t="52810" x="5829300" y="4033838"/>
          <p14:tracePt t="52826" x="5638800" y="4100513"/>
          <p14:tracePt t="52843" x="5491163" y="4157663"/>
          <p14:tracePt t="52860" x="5372100" y="4195763"/>
          <p14:tracePt t="52877" x="5238750" y="4233863"/>
          <p14:tracePt t="52893" x="5191125" y="4267200"/>
          <p14:tracePt t="52909" x="5176838" y="4305300"/>
          <p14:tracePt t="52926" x="5176838" y="4338638"/>
          <p14:tracePt t="52943" x="5214938" y="4400550"/>
          <p14:tracePt t="52960" x="5291138" y="4486275"/>
          <p14:tracePt t="52977" x="5367338" y="4567238"/>
          <p14:tracePt t="52993" x="5448300" y="4662488"/>
          <p14:tracePt t="53010" x="5505450" y="4724400"/>
          <p14:tracePt t="53027" x="5567363" y="4776788"/>
          <p14:tracePt t="53044" x="5610225" y="4814888"/>
          <p14:tracePt t="53060" x="5657850" y="4843463"/>
          <p14:tracePt t="53078" x="5710238" y="4872038"/>
          <p14:tracePt t="53093" x="5795963" y="4905375"/>
          <p14:tracePt t="53110" x="5886450" y="4929188"/>
          <p14:tracePt t="53126" x="6010275" y="4957763"/>
          <p14:tracePt t="53143" x="6186488" y="4986338"/>
          <p14:tracePt t="53160" x="6348413" y="5014913"/>
          <p14:tracePt t="53176" x="6448425" y="5029200"/>
          <p14:tracePt t="53193" x="6548438" y="5033963"/>
          <p14:tracePt t="53210" x="6615113" y="5033963"/>
          <p14:tracePt t="53226" x="6686550" y="5033963"/>
          <p14:tracePt t="53243" x="6757988" y="5033963"/>
          <p14:tracePt t="53247" x="6796088" y="5033963"/>
          <p14:tracePt t="53260" x="6834188" y="5029200"/>
          <p14:tracePt t="53276" x="6929438" y="5010150"/>
          <p14:tracePt t="53293" x="7110413" y="4976813"/>
          <p14:tracePt t="53310" x="7239000" y="4943475"/>
          <p14:tracePt t="53327" x="7367588" y="4914900"/>
          <p14:tracePt t="53343" x="7491413" y="4891088"/>
          <p14:tracePt t="53360" x="7600950" y="4862513"/>
          <p14:tracePt t="53377" x="7667625" y="4833938"/>
          <p14:tracePt t="53394" x="7724775" y="4800600"/>
          <p14:tracePt t="53410" x="7748588" y="4776788"/>
          <p14:tracePt t="53427" x="7748588" y="4767263"/>
          <p14:tracePt t="53444" x="7753350" y="4752975"/>
          <p14:tracePt t="53460" x="7753350" y="4719638"/>
          <p14:tracePt t="53478" x="7753350" y="4672013"/>
          <p14:tracePt t="53493" x="7762875" y="4633913"/>
          <p14:tracePt t="53510" x="7767638" y="4605338"/>
          <p14:tracePt t="53527" x="7767638" y="4586288"/>
          <p14:tracePt t="53543" x="7767638" y="4557713"/>
          <p14:tracePt t="53560" x="7767638" y="4514850"/>
          <p14:tracePt t="53576" x="7748588" y="4467225"/>
          <p14:tracePt t="53593" x="7724775" y="4424363"/>
          <p14:tracePt t="53610" x="7696200" y="4391025"/>
          <p14:tracePt t="53626" x="7667625" y="4367213"/>
          <p14:tracePt t="53643" x="7629525" y="4338638"/>
          <p14:tracePt t="53660" x="7581900" y="4310063"/>
          <p14:tracePt t="53678" x="7486650" y="4271963"/>
          <p14:tracePt t="53693" x="7419975" y="4248150"/>
          <p14:tracePt t="53710" x="7358063" y="4233863"/>
          <p14:tracePt t="53726" x="7291388" y="4219575"/>
          <p14:tracePt t="53743" x="7219950" y="4210050"/>
          <p14:tracePt t="53760" x="7148513" y="4195763"/>
          <p14:tracePt t="53776" x="7072313" y="4186238"/>
          <p14:tracePt t="53793" x="6962775" y="4167188"/>
          <p14:tracePt t="53809" x="6834188" y="4148138"/>
          <p14:tracePt t="53826" x="6715125" y="4143375"/>
          <p14:tracePt t="53843" x="6605588" y="4143375"/>
          <p14:tracePt t="53860" x="6505575" y="4138613"/>
          <p14:tracePt t="53878" x="6381750" y="4138613"/>
          <p14:tracePt t="53894" x="6305550" y="4138613"/>
          <p14:tracePt t="53910" x="6234113" y="4138613"/>
          <p14:tracePt t="53926" x="6157913" y="4138613"/>
          <p14:tracePt t="53943" x="6086475" y="4148138"/>
          <p14:tracePt t="53960" x="6019800" y="4157663"/>
          <p14:tracePt t="53977" x="5986463" y="4162425"/>
          <p14:tracePt t="53993" x="5967413" y="4167188"/>
          <p14:tracePt t="54010" x="5948363" y="4176713"/>
          <p14:tracePt t="54027" x="5934075" y="4186238"/>
          <p14:tracePt t="54043" x="5905500" y="4200525"/>
          <p14:tracePt t="54060" x="5881688" y="4219575"/>
          <p14:tracePt t="54078" x="5843588" y="4248150"/>
          <p14:tracePt t="54093" x="5815013" y="4276725"/>
          <p14:tracePt t="54110" x="5781675" y="4319588"/>
          <p14:tracePt t="54127" x="5762625" y="4348163"/>
          <p14:tracePt t="54143" x="5753100" y="4386263"/>
          <p14:tracePt t="54160" x="5743575" y="4438650"/>
          <p14:tracePt t="54177" x="5734050" y="4491038"/>
          <p14:tracePt t="54193" x="5724525" y="4562475"/>
          <p14:tracePt t="54210" x="5724525" y="4610100"/>
          <p14:tracePt t="54227" x="5724525" y="4638675"/>
          <p14:tracePt t="54243" x="5724525" y="4662488"/>
          <p14:tracePt t="54249" x="5729288" y="4676775"/>
          <p14:tracePt t="54260" x="5738813" y="4700588"/>
          <p14:tracePt t="54278" x="5776913" y="4772025"/>
          <p14:tracePt t="54294" x="5805488" y="4810125"/>
          <p14:tracePt t="54310" x="5834063" y="4838700"/>
          <p14:tracePt t="54327" x="5862638" y="4857750"/>
          <p14:tracePt t="54344" x="5895975" y="4881563"/>
          <p14:tracePt t="54360" x="5929313" y="4910138"/>
          <p14:tracePt t="54377" x="5953125" y="4919663"/>
          <p14:tracePt t="54393" x="5981700" y="4933950"/>
          <p14:tracePt t="54410" x="6034088" y="4957763"/>
          <p14:tracePt t="54427" x="6081713" y="4972050"/>
          <p14:tracePt t="54444" x="6134100" y="4981575"/>
          <p14:tracePt t="54460" x="6210300" y="4995863"/>
          <p14:tracePt t="54478" x="6324600" y="5010150"/>
          <p14:tracePt t="54494" x="6381750" y="5014913"/>
          <p14:tracePt t="54510" x="6424613" y="5024438"/>
          <p14:tracePt t="54527" x="6477000" y="5029200"/>
          <p14:tracePt t="54543" x="6543675" y="5029200"/>
          <p14:tracePt t="54559" x="6643688" y="5033963"/>
          <p14:tracePt t="54576" x="6777038" y="5033963"/>
          <p14:tracePt t="54593" x="6924675" y="5029200"/>
          <p14:tracePt t="54610" x="7124700" y="5014913"/>
          <p14:tracePt t="54626" x="7329488" y="5000625"/>
          <p14:tracePt t="54644" x="7462838" y="4986338"/>
          <p14:tracePt t="54660" x="7581900" y="4967288"/>
          <p14:tracePt t="54678" x="7705725" y="4933950"/>
          <p14:tracePt t="54694" x="7781925" y="4905375"/>
          <p14:tracePt t="54710" x="7853363" y="4876800"/>
          <p14:tracePt t="54727" x="7900988" y="4833938"/>
          <p14:tracePt t="54744" x="7924800" y="4786313"/>
          <p14:tracePt t="54760" x="7939088" y="4724400"/>
          <p14:tracePt t="54777" x="7948613" y="4652963"/>
          <p14:tracePt t="54794" x="7953375" y="4586288"/>
          <p14:tracePt t="54810" x="7958138" y="4529138"/>
          <p14:tracePt t="54827" x="7962900" y="4481513"/>
          <p14:tracePt t="54844" x="7962900" y="4452938"/>
          <p14:tracePt t="54860" x="7962900" y="4429125"/>
          <p14:tracePt t="54878" x="7958138" y="4391025"/>
          <p14:tracePt t="54894" x="7939088" y="4357688"/>
          <p14:tracePt t="54910" x="7910513" y="4324350"/>
          <p14:tracePt t="54926" x="7891463" y="4300538"/>
          <p14:tracePt t="54944" x="7867650" y="4286250"/>
          <p14:tracePt t="54960" x="7848600" y="4267200"/>
          <p14:tracePt t="54976" x="7829550" y="4257675"/>
          <p14:tracePt t="54993" x="7820025" y="4248150"/>
          <p14:tracePt t="55009" x="7820025" y="4243388"/>
        </p14:tracePtLst>
      </p14:laserTraceLst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6663" y="909224"/>
            <a:ext cx="6576166" cy="19166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2A5098F-0BCF-2F4C-8A51-7FFAAA5D022A}"/>
              </a:ext>
            </a:extLst>
          </p:cNvPr>
          <p:cNvSpPr txBox="1"/>
          <p:nvPr/>
        </p:nvSpPr>
        <p:spPr>
          <a:xfrm>
            <a:off x="5375362" y="4902536"/>
            <a:ext cx="361188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CDC and adapted from Taubenberger </a:t>
            </a:r>
            <a:r>
              <a:rPr lang="en-US" sz="1050" i="1" dirty="0"/>
              <a:t>et al </a:t>
            </a:r>
            <a:r>
              <a:rPr lang="en-US" sz="1050" dirty="0"/>
              <a:t>2019; Kramer, 2018</a:t>
            </a:r>
            <a:endParaRPr lang="en-GB" sz="1050" dirty="0"/>
          </a:p>
        </p:txBody>
      </p:sp>
      <p:sp>
        <p:nvSpPr>
          <p:cNvPr id="7" name="Title 27">
            <a:extLst>
              <a:ext uri="{FF2B5EF4-FFF2-40B4-BE49-F238E27FC236}">
                <a16:creationId xmlns:a16="http://schemas.microsoft.com/office/drawing/2014/main" id="{6E4B256B-0AF7-7548-ADA3-56900D02B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75255"/>
            <a:ext cx="7886700" cy="994172"/>
          </a:xfrm>
        </p:spPr>
        <p:txBody>
          <a:bodyPr/>
          <a:lstStyle/>
          <a:p>
            <a:pPr algn="ctr"/>
            <a:r>
              <a:rPr lang="en-GB" b="1" dirty="0"/>
              <a:t>Influenza A pandemics due to Ag shift</a:t>
            </a:r>
          </a:p>
        </p:txBody>
      </p:sp>
      <p:pic>
        <p:nvPicPr>
          <p:cNvPr id="9218" name="Picture 2" descr="Influenza | Nature Reviews Disease Primers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20" b="43985"/>
          <a:stretch/>
        </p:blipFill>
        <p:spPr bwMode="auto">
          <a:xfrm>
            <a:off x="1814170" y="2935629"/>
            <a:ext cx="5630483" cy="1941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7893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6185"/>
    </mc:Choice>
    <mc:Fallback xmlns="">
      <p:transition spd="slow" advTm="226185"/>
    </mc:Fallback>
  </mc:AlternateContent>
  <p:extLst>
    <p:ext uri="{3A86A75C-4F4B-4683-9AE1-C65F6400EC91}">
      <p14:laserTraceLst xmlns:p14="http://schemas.microsoft.com/office/powerpoint/2010/main">
        <p14:tracePtLst>
          <p14:tracePt t="815" x="1714500" y="2124075"/>
          <p14:tracePt t="1174" x="1704975" y="2119313"/>
          <p14:tracePt t="1183" x="1685925" y="2114550"/>
          <p14:tracePt t="1189" x="1662113" y="2114550"/>
          <p14:tracePt t="1208" x="1581150" y="2128838"/>
          <p14:tracePt t="1224" x="1543050" y="2209800"/>
          <p14:tracePt t="1241" x="1519238" y="2328863"/>
          <p14:tracePt t="1256" x="1500188" y="2466975"/>
          <p14:tracePt t="1283" x="1471613" y="2671763"/>
          <p14:tracePt t="1300" x="1443038" y="2819400"/>
          <p14:tracePt t="1317" x="1414463" y="3005138"/>
          <p14:tracePt t="1333" x="1376363" y="3238500"/>
          <p14:tracePt t="1350" x="1357313" y="3495675"/>
          <p14:tracePt t="1366" x="1366838" y="3771900"/>
          <p14:tracePt t="1383" x="1433513" y="4019550"/>
          <p14:tracePt t="1401" x="1604963" y="4257675"/>
          <p14:tracePt t="1417" x="1771650" y="4371975"/>
          <p14:tracePt t="1434" x="2009775" y="4452938"/>
          <p14:tracePt t="1450" x="2233613" y="4491038"/>
          <p14:tracePt t="1467" x="2457450" y="4495800"/>
          <p14:tracePt t="1483" x="2600325" y="4495800"/>
          <p14:tracePt t="1499" x="2724150" y="4495800"/>
          <p14:tracePt t="1516" x="2752725" y="4495800"/>
          <p14:tracePt t="1550" x="2757488" y="4495800"/>
          <p14:tracePt t="1567" x="2776538" y="4500563"/>
          <p14:tracePt t="1583" x="2790825" y="4510088"/>
          <p14:tracePt t="1600" x="2805113" y="4524375"/>
          <p14:tracePt t="1616" x="2843213" y="4552950"/>
          <p14:tracePt t="1633" x="2886075" y="4576763"/>
          <p14:tracePt t="1649" x="2909888" y="4595813"/>
          <p14:tracePt t="1666" x="2919413" y="4610100"/>
          <p14:tracePt t="1682" x="2924175" y="4610100"/>
          <p14:tracePt t="20059" x="2924175" y="4595813"/>
          <p14:tracePt t="20069" x="2928938" y="4572000"/>
          <p14:tracePt t="20076" x="2928938" y="4552950"/>
          <p14:tracePt t="20087" x="2928938" y="4524375"/>
          <p14:tracePt t="20104" x="2928938" y="4467225"/>
          <p14:tracePt t="20120" x="2928938" y="4424363"/>
          <p14:tracePt t="20150" x="2905125" y="4343400"/>
          <p14:tracePt t="20166" x="2895600" y="4314825"/>
          <p14:tracePt t="20183" x="2867025" y="4267200"/>
          <p14:tracePt t="20200" x="2786063" y="4152900"/>
          <p14:tracePt t="20217" x="2728913" y="4090988"/>
          <p14:tracePt t="20233" x="2652713" y="4019550"/>
          <p14:tracePt t="20250" x="2562225" y="3943350"/>
          <p14:tracePt t="20266" x="2471738" y="3871913"/>
          <p14:tracePt t="20282" x="2395538" y="3819525"/>
          <p14:tracePt t="20300" x="2343150" y="3786188"/>
          <p14:tracePt t="20317" x="2333625" y="3776663"/>
          <p14:tracePt t="20333" x="2324100" y="3767138"/>
          <p14:tracePt t="20350" x="2314575" y="3748088"/>
          <p14:tracePt t="20367" x="2309813" y="3724275"/>
          <p14:tracePt t="20383" x="2305050" y="3700463"/>
          <p14:tracePt t="20401" x="2305050" y="3657600"/>
          <p14:tracePt t="20417" x="2305050" y="3633788"/>
          <p14:tracePt t="20434" x="2300288" y="3624263"/>
          <p14:tracePt t="20547" x="2300288" y="3619500"/>
          <p14:tracePt t="20557" x="2300288" y="3609975"/>
          <p14:tracePt t="20595" x="2300288" y="3605213"/>
          <p14:tracePt t="20611" x="2295525" y="3605213"/>
          <p14:tracePt t="20626" x="2290763" y="3600450"/>
          <p14:tracePt t="20633" x="2286000" y="3595688"/>
          <p14:tracePt t="20650" x="2271713" y="3590925"/>
          <p14:tracePt t="20666" x="2266950" y="3590925"/>
          <p14:tracePt t="20683" x="2262188" y="3586163"/>
          <p14:tracePt t="24580" x="2262188" y="3581400"/>
          <p14:tracePt t="24588" x="2262188" y="3552825"/>
          <p14:tracePt t="24599" x="2262188" y="3514725"/>
          <p14:tracePt t="24617" x="2262188" y="3386138"/>
          <p14:tracePt t="24649" x="2257425" y="3257550"/>
          <p14:tracePt t="24666" x="2252663" y="3233738"/>
          <p14:tracePt t="24682" x="2252663" y="3224213"/>
          <p14:tracePt t="24755" x="2252663" y="3219450"/>
          <p14:tracePt t="24763" x="2252663" y="3209925"/>
          <p14:tracePt t="24771" x="2252663" y="3186113"/>
          <p14:tracePt t="24783" x="2252663" y="3157538"/>
          <p14:tracePt t="24800" x="2252663" y="3076575"/>
          <p14:tracePt t="24817" x="2252663" y="3052763"/>
          <p14:tracePt t="24833" x="2252663" y="3019425"/>
          <p14:tracePt t="24849" x="2252663" y="2995613"/>
          <p14:tracePt t="24866" x="2252663" y="2986088"/>
          <p14:tracePt t="24900" x="2252663" y="2981325"/>
          <p14:tracePt t="24971" x="2257425" y="2990850"/>
          <p14:tracePt t="24979" x="2266950" y="3005138"/>
          <p14:tracePt t="24989" x="2286000" y="3028950"/>
          <p14:tracePt t="25001" x="2352675" y="3090863"/>
          <p14:tracePt t="25016" x="2433638" y="3119438"/>
          <p14:tracePt t="25032" x="2528888" y="3143250"/>
          <p14:tracePt t="25050" x="2643188" y="3152775"/>
          <p14:tracePt t="25066" x="2728913" y="3152775"/>
          <p14:tracePt t="25083" x="2757488" y="3152775"/>
          <p14:tracePt t="25129" x="2757488" y="3143250"/>
          <p14:tracePt t="25137" x="2752725" y="3138488"/>
          <p14:tracePt t="25149" x="2743200" y="3128963"/>
          <p14:tracePt t="25167" x="2728913" y="3119438"/>
          <p14:tracePt t="25183" x="2724150" y="3114675"/>
          <p14:tracePt t="25201" x="2700338" y="3100388"/>
          <p14:tracePt t="25216" x="2681288" y="3100388"/>
          <p14:tracePt t="25233" x="2667000" y="3095625"/>
          <p14:tracePt t="25250" x="2652713" y="3095625"/>
          <p14:tracePt t="25266" x="2633663" y="3095625"/>
          <p14:tracePt t="25283" x="2605088" y="3090863"/>
          <p14:tracePt t="25300" x="2581275" y="3090863"/>
          <p14:tracePt t="25317" x="2552700" y="3090863"/>
          <p14:tracePt t="25333" x="2519363" y="3090863"/>
          <p14:tracePt t="25350" x="2490788" y="3090863"/>
          <p14:tracePt t="25367" x="2466975" y="3090863"/>
          <p14:tracePt t="25383" x="2438400" y="3090863"/>
          <p14:tracePt t="25401" x="2400300" y="3090863"/>
          <p14:tracePt t="25417" x="2362200" y="3090863"/>
          <p14:tracePt t="25433" x="2319338" y="3090863"/>
          <p14:tracePt t="25450" x="2266950" y="3086100"/>
          <p14:tracePt t="25466" x="2233613" y="3086100"/>
          <p14:tracePt t="25483" x="2219325" y="3081338"/>
          <p14:tracePt t="25611" x="2224088" y="3081338"/>
          <p14:tracePt t="25633" x="2228850" y="3081338"/>
          <p14:tracePt t="25641" x="2233613" y="3081338"/>
          <p14:tracePt t="25649" x="2238375" y="3076575"/>
          <p14:tracePt t="25666" x="2257425" y="3057525"/>
          <p14:tracePt t="25683" x="2276475" y="3038475"/>
          <p14:tracePt t="25700" x="2300288" y="2990850"/>
          <p14:tracePt t="25717" x="2319338" y="2938463"/>
          <p14:tracePt t="25733" x="2347913" y="2852738"/>
          <p14:tracePt t="25750" x="2366963" y="2767013"/>
          <p14:tracePt t="25767" x="2381250" y="2686050"/>
          <p14:tracePt t="25783" x="2381250" y="2609850"/>
          <p14:tracePt t="25801" x="2381250" y="2471738"/>
          <p14:tracePt t="25817" x="2366963" y="2376488"/>
          <p14:tracePt t="25833" x="2352675" y="2305050"/>
          <p14:tracePt t="25849" x="2338388" y="2238375"/>
          <p14:tracePt t="25866" x="2314575" y="2157413"/>
          <p14:tracePt t="25882" x="2290763" y="2095500"/>
          <p14:tracePt t="25899" x="2252663" y="2019300"/>
          <p14:tracePt t="25916" x="2200275" y="1928813"/>
          <p14:tracePt t="25933" x="2143125" y="1833563"/>
          <p14:tracePt t="25949" x="2076450" y="1743075"/>
          <p14:tracePt t="25967" x="2005013" y="1666875"/>
          <p14:tracePt t="25983" x="1933575" y="1590675"/>
          <p14:tracePt t="26001" x="1824038" y="1504950"/>
          <p14:tracePt t="26017" x="1766888" y="1462088"/>
          <p14:tracePt t="26034" x="1714500" y="1423988"/>
          <p14:tracePt t="26050" x="1647825" y="1381125"/>
          <p14:tracePt t="26067" x="1604963" y="1362075"/>
          <p14:tracePt t="26083" x="1547813" y="1338263"/>
          <p14:tracePt t="26100" x="1466850" y="1319213"/>
          <p14:tracePt t="26116" x="1376363" y="1300163"/>
          <p14:tracePt t="26132" x="1257300" y="1285875"/>
          <p14:tracePt t="26149" x="1133475" y="1285875"/>
          <p14:tracePt t="26166" x="1023938" y="1285875"/>
          <p14:tracePt t="26184" x="938213" y="1290638"/>
          <p14:tracePt t="26201" x="833438" y="1314450"/>
          <p14:tracePt t="26217" x="752475" y="1347788"/>
          <p14:tracePt t="26233" x="695325" y="1385888"/>
          <p14:tracePt t="26249" x="647700" y="1438275"/>
          <p14:tracePt t="26266" x="604838" y="1490663"/>
          <p14:tracePt t="26283" x="566738" y="1552575"/>
          <p14:tracePt t="26299" x="519113" y="1628775"/>
          <p14:tracePt t="26316" x="471488" y="1719263"/>
          <p14:tracePt t="26333" x="433388" y="1819275"/>
          <p14:tracePt t="26349" x="404813" y="1943100"/>
          <p14:tracePt t="26366" x="381000" y="2081213"/>
          <p14:tracePt t="26383" x="357188" y="2224088"/>
          <p14:tracePt t="26400" x="352425" y="2428875"/>
          <p14:tracePt t="26416" x="352425" y="2557463"/>
          <p14:tracePt t="26433" x="376238" y="2714625"/>
          <p14:tracePt t="26450" x="423863" y="2876550"/>
          <p14:tracePt t="26466" x="481013" y="3024188"/>
          <p14:tracePt t="26483" x="542925" y="3157538"/>
          <p14:tracePt t="26500" x="604838" y="3267075"/>
          <p14:tracePt t="26516" x="647700" y="3338513"/>
          <p14:tracePt t="26533" x="709613" y="3409950"/>
          <p14:tracePt t="26550" x="785813" y="3476625"/>
          <p14:tracePt t="26555" x="828675" y="3519488"/>
          <p14:tracePt t="26566" x="871538" y="3552825"/>
          <p14:tracePt t="26583" x="947738" y="3614738"/>
          <p14:tracePt t="26601" x="1095375" y="3705225"/>
          <p14:tracePt t="26616" x="1195388" y="3748088"/>
          <p14:tracePt t="26633" x="1285875" y="3776663"/>
          <p14:tracePt t="26649" x="1390650" y="3805238"/>
          <p14:tracePt t="26666" x="1485900" y="3829050"/>
          <p14:tracePt t="26683" x="1576388" y="3843338"/>
          <p14:tracePt t="26699" x="1662113" y="3852863"/>
          <p14:tracePt t="26716" x="1757363" y="3852863"/>
          <p14:tracePt t="26732" x="1838325" y="3852863"/>
          <p14:tracePt t="26749" x="1909763" y="3848100"/>
          <p14:tracePt t="26766" x="1976438" y="3829050"/>
          <p14:tracePt t="26783" x="2014538" y="3810000"/>
          <p14:tracePt t="26799" x="2052638" y="3757613"/>
          <p14:tracePt t="26817" x="2124075" y="3652838"/>
          <p14:tracePt t="26833" x="2166938" y="3590925"/>
          <p14:tracePt t="26849" x="2214563" y="3524250"/>
          <p14:tracePt t="26866" x="2266950" y="3452813"/>
          <p14:tracePt t="26883" x="2309813" y="3386138"/>
          <p14:tracePt t="26899" x="2352675" y="3333750"/>
          <p14:tracePt t="26916" x="2395538" y="3276600"/>
          <p14:tracePt t="26933" x="2438400" y="3200400"/>
          <p14:tracePt t="26949" x="2466975" y="3124200"/>
          <p14:tracePt t="26966" x="2486025" y="3024188"/>
          <p14:tracePt t="26983" x="2490788" y="2895600"/>
          <p14:tracePt t="26999" x="2486025" y="2714625"/>
          <p14:tracePt t="27016" x="2457450" y="2586038"/>
          <p14:tracePt t="27033" x="2433638" y="2466975"/>
          <p14:tracePt t="27050" x="2400300" y="2381250"/>
          <p14:tracePt t="27066" x="2371725" y="2286000"/>
          <p14:tracePt t="27083" x="2324100" y="2200275"/>
          <p14:tracePt t="27100" x="2286000" y="2124075"/>
          <p14:tracePt t="27116" x="2238375" y="2057400"/>
          <p14:tracePt t="27132" x="2185988" y="1981200"/>
          <p14:tracePt t="27149" x="2109788" y="1890713"/>
          <p14:tracePt t="27166" x="2033588" y="1800225"/>
          <p14:tracePt t="27185" x="1895475" y="1685925"/>
          <p14:tracePt t="27201" x="1795463" y="1609725"/>
          <p14:tracePt t="27217" x="1695450" y="1547813"/>
          <p14:tracePt t="27234" x="1585913" y="1500188"/>
          <p14:tracePt t="27249" x="1476375" y="1457325"/>
          <p14:tracePt t="27266" x="1366838" y="1433513"/>
          <p14:tracePt t="27283" x="1276350" y="1414463"/>
          <p14:tracePt t="27299" x="1181100" y="1404938"/>
          <p14:tracePt t="27316" x="1071563" y="1404938"/>
          <p14:tracePt t="27333" x="966788" y="1404938"/>
          <p14:tracePt t="27349" x="842963" y="1419225"/>
          <p14:tracePt t="27366" x="747713" y="1438275"/>
          <p14:tracePt t="27383" x="661988" y="1466850"/>
          <p14:tracePt t="27400" x="585788" y="1500188"/>
          <p14:tracePt t="27416" x="481013" y="1576388"/>
          <p14:tracePt t="27433" x="438150" y="1624013"/>
          <p14:tracePt t="27449" x="409575" y="1676400"/>
          <p14:tracePt t="27466" x="371475" y="1724025"/>
          <p14:tracePt t="27482" x="342900" y="1776413"/>
          <p14:tracePt t="27499" x="314325" y="1843088"/>
          <p14:tracePt t="27516" x="280988" y="1919288"/>
          <p14:tracePt t="27532" x="252413" y="2005013"/>
          <p14:tracePt t="27549" x="228600" y="2100263"/>
          <p14:tracePt t="27553" x="219075" y="2152650"/>
          <p14:tracePt t="27565" x="200025" y="2205038"/>
          <p14:tracePt t="27582" x="171450" y="2357438"/>
          <p14:tracePt t="27600" x="157163" y="2557463"/>
          <p14:tracePt t="27616" x="147638" y="2700338"/>
          <p14:tracePt t="27633" x="147638" y="2833688"/>
          <p14:tracePt t="27650" x="161925" y="2962275"/>
          <p14:tracePt t="27667" x="190500" y="3095625"/>
          <p14:tracePt t="27683" x="214313" y="3219450"/>
          <p14:tracePt t="27700" x="242888" y="3328988"/>
          <p14:tracePt t="27717" x="285750" y="3419475"/>
          <p14:tracePt t="27733" x="323850" y="3500438"/>
          <p14:tracePt t="27750" x="352425" y="3557588"/>
          <p14:tracePt t="27766" x="390525" y="3609975"/>
          <p14:tracePt t="27783" x="438150" y="3652838"/>
          <p14:tracePt t="27800" x="509588" y="3709988"/>
          <p14:tracePt t="27817" x="581025" y="3743325"/>
          <p14:tracePt t="27833" x="652463" y="3776663"/>
          <p14:tracePt t="27849" x="733425" y="3810000"/>
          <p14:tracePt t="27866" x="795338" y="3833813"/>
          <p14:tracePt t="27882" x="842963" y="3848100"/>
          <p14:tracePt t="27900" x="871538" y="3852863"/>
          <p14:tracePt t="27916" x="900113" y="3857625"/>
          <p14:tracePt t="27933" x="904875" y="3862388"/>
          <p14:tracePt t="28333" x="919163" y="3862388"/>
          <p14:tracePt t="28340" x="928688" y="3867150"/>
          <p14:tracePt t="28347" x="942975" y="3867150"/>
          <p14:tracePt t="28383" x="995363" y="3881438"/>
          <p14:tracePt t="28401" x="1042988" y="3895725"/>
          <p14:tracePt t="28417" x="1057275" y="3900488"/>
          <p14:tracePt t="28433" x="1071563" y="3900488"/>
          <p14:tracePt t="28450" x="1081088" y="3900488"/>
          <p14:tracePt t="28467" x="1085850" y="3900488"/>
          <p14:tracePt t="28483" x="1090613" y="3900488"/>
          <p14:tracePt t="28500" x="1104900" y="3905250"/>
          <p14:tracePt t="28517" x="1109663" y="3910013"/>
          <p14:tracePt t="28533" x="1123950" y="3910013"/>
          <p14:tracePt t="28550" x="1138238" y="3914775"/>
          <p14:tracePt t="28556" x="1147763" y="3914775"/>
          <p14:tracePt t="28566" x="1152525" y="3914775"/>
          <p14:tracePt t="28582" x="1162050" y="3919538"/>
          <p14:tracePt t="28599" x="1166813" y="3919538"/>
          <p14:tracePt t="28849" x="1171575" y="3919538"/>
          <p14:tracePt t="28856" x="1185863" y="3919538"/>
          <p14:tracePt t="28866" x="1200150" y="3919538"/>
          <p14:tracePt t="28882" x="1223963" y="3924300"/>
          <p14:tracePt t="28899" x="1257300" y="3929063"/>
          <p14:tracePt t="28916" x="1300163" y="3938588"/>
          <p14:tracePt t="28932" x="1333500" y="3938588"/>
          <p14:tracePt t="28949" x="1347788" y="3938588"/>
          <p14:tracePt t="29067" x="1352550" y="3938588"/>
          <p14:tracePt t="29083" x="1357313" y="3938588"/>
          <p14:tracePt t="29091" x="1362075" y="3938588"/>
          <p14:tracePt t="29115" x="1366838" y="3938588"/>
          <p14:tracePt t="29131" x="1371600" y="3938588"/>
          <p14:tracePt t="29141" x="1381125" y="3943350"/>
          <p14:tracePt t="29149" x="1385888" y="3943350"/>
          <p14:tracePt t="29166" x="1409700" y="3948113"/>
          <p14:tracePt t="29182" x="1433513" y="3952875"/>
          <p14:tracePt t="29200" x="1466850" y="3952875"/>
          <p14:tracePt t="29216" x="1538288" y="3962400"/>
          <p14:tracePt t="29234" x="1624013" y="3976688"/>
          <p14:tracePt t="29250" x="1733550" y="3995738"/>
          <p14:tracePt t="29266" x="1828800" y="4005263"/>
          <p14:tracePt t="29282" x="1909763" y="4010025"/>
          <p14:tracePt t="29299" x="1976438" y="4014788"/>
          <p14:tracePt t="29316" x="2009775" y="4014788"/>
          <p14:tracePt t="29332" x="2028825" y="4014788"/>
          <p14:tracePt t="29435" x="2033588" y="4014788"/>
          <p14:tracePt t="29451" x="2038350" y="4010025"/>
          <p14:tracePt t="29459" x="2047875" y="4010025"/>
          <p14:tracePt t="29468" x="2062163" y="4000500"/>
          <p14:tracePt t="29483" x="2143125" y="3971925"/>
          <p14:tracePt t="29500" x="2243138" y="3938588"/>
          <p14:tracePt t="29517" x="2343150" y="3881438"/>
          <p14:tracePt t="29533" x="2443163" y="3800475"/>
          <p14:tracePt t="29550" x="2524125" y="3724275"/>
          <p14:tracePt t="29566" x="2595563" y="3648075"/>
          <p14:tracePt t="29570" x="2619375" y="3600450"/>
          <p14:tracePt t="29583" x="2643188" y="3548063"/>
          <p14:tracePt t="29599" x="2681288" y="3433763"/>
          <p14:tracePt t="29616" x="2700338" y="3319463"/>
          <p14:tracePt t="29632" x="2700338" y="3281363"/>
          <p14:tracePt t="29649" x="2700338" y="3267075"/>
          <p14:tracePt t="29666" x="2700338" y="3262313"/>
          <p14:tracePt t="29963" x="2700338" y="3257550"/>
          <p14:tracePt t="29972" x="2700338" y="3248025"/>
          <p14:tracePt t="29983" x="2700338" y="3238500"/>
          <p14:tracePt t="30001" x="2700338" y="3148013"/>
          <p14:tracePt t="30017" x="2705100" y="3043238"/>
          <p14:tracePt t="30034" x="2709863" y="2962275"/>
          <p14:tracePt t="30050" x="2709863" y="2895600"/>
          <p14:tracePt t="30066" x="2709863" y="2828925"/>
          <p14:tracePt t="30083" x="2700338" y="2781300"/>
          <p14:tracePt t="30100" x="2690813" y="2752725"/>
          <p14:tracePt t="30117" x="2676525" y="2728913"/>
          <p14:tracePt t="30133" x="2647950" y="2709863"/>
          <p14:tracePt t="30151" x="2624138" y="2690813"/>
          <p14:tracePt t="30166" x="2595563" y="2681288"/>
          <p14:tracePt t="30183" x="2571750" y="2667000"/>
          <p14:tracePt t="30200" x="2547938" y="2657475"/>
          <p14:tracePt t="30216" x="2524125" y="2643188"/>
          <p14:tracePt t="30233" x="2500313" y="2624138"/>
          <p14:tracePt t="30250" x="2471738" y="2614613"/>
          <p14:tracePt t="30266" x="2443163" y="2609850"/>
          <p14:tracePt t="30282" x="2419350" y="2609850"/>
          <p14:tracePt t="30299" x="2409825" y="2609850"/>
          <p14:tracePt t="30316" x="2405063" y="2609850"/>
          <p14:tracePt t="30333" x="2395538" y="2609850"/>
          <p14:tracePt t="30350" x="2390775" y="2614613"/>
          <p14:tracePt t="30367" x="2381250" y="2628900"/>
          <p14:tracePt t="30383" x="2366963" y="2643188"/>
          <p14:tracePt t="30399" x="2352675" y="2671763"/>
          <p14:tracePt t="30416" x="2319338" y="2700338"/>
          <p14:tracePt t="30433" x="2300288" y="2719388"/>
          <p14:tracePt t="30450" x="2281238" y="2738438"/>
          <p14:tracePt t="30466" x="2276475" y="2752725"/>
          <p14:tracePt t="30483" x="2266950" y="2771775"/>
          <p14:tracePt t="30500" x="2266950" y="2790825"/>
          <p14:tracePt t="30516" x="2266950" y="2809875"/>
          <p14:tracePt t="30533" x="2266950" y="2828925"/>
          <p14:tracePt t="30550" x="2266950" y="2852738"/>
          <p14:tracePt t="30566" x="2276475" y="2881313"/>
          <p14:tracePt t="30571" x="2281238" y="2895600"/>
          <p14:tracePt t="30583" x="2290763" y="2909888"/>
          <p14:tracePt t="30601" x="2319338" y="2952750"/>
          <p14:tracePt t="30617" x="2347913" y="2971800"/>
          <p14:tracePt t="30633" x="2371725" y="2981325"/>
          <p14:tracePt t="30649" x="2395538" y="2990850"/>
          <p14:tracePt t="30666" x="2409825" y="3000375"/>
          <p14:tracePt t="30683" x="2428875" y="3000375"/>
          <p14:tracePt t="30700" x="2447925" y="3000375"/>
          <p14:tracePt t="30717" x="2466975" y="3005138"/>
          <p14:tracePt t="30733" x="2490788" y="3009900"/>
          <p14:tracePt t="30750" x="2509838" y="3009900"/>
          <p14:tracePt t="30766" x="2524125" y="3009900"/>
          <p14:tracePt t="30800" x="2533650" y="3009900"/>
          <p14:tracePt t="30817" x="2538413" y="3009900"/>
          <p14:tracePt t="30833" x="2552700" y="3009900"/>
          <p14:tracePt t="30849" x="2571750" y="3005138"/>
          <p14:tracePt t="30866" x="2581275" y="2995613"/>
          <p14:tracePt t="30883" x="2595563" y="2981325"/>
          <p14:tracePt t="30899" x="2605088" y="2971800"/>
          <p14:tracePt t="30916" x="2609850" y="2962275"/>
          <p14:tracePt t="30932" x="2614613" y="2952750"/>
          <p14:tracePt t="30949" x="2614613" y="2943225"/>
          <p14:tracePt t="30966" x="2614613" y="2933700"/>
          <p14:tracePt t="30983" x="2619375" y="2919413"/>
          <p14:tracePt t="31000" x="2619375" y="2895600"/>
          <p14:tracePt t="31017" x="2619375" y="2886075"/>
          <p14:tracePt t="31034" x="2619375" y="2881313"/>
          <p14:tracePt t="31050" x="2619375" y="2867025"/>
          <p14:tracePt t="31066" x="2614613" y="2852738"/>
          <p14:tracePt t="31083" x="2609850" y="2838450"/>
          <p14:tracePt t="31100" x="2605088" y="2814638"/>
          <p14:tracePt t="31117" x="2590800" y="2795588"/>
          <p14:tracePt t="31133" x="2586038" y="2781300"/>
          <p14:tracePt t="31150" x="2581275" y="2771775"/>
          <p14:tracePt t="31166" x="2571750" y="2762250"/>
          <p14:tracePt t="31183" x="2562225" y="2757488"/>
          <p14:tracePt t="31200" x="2547938" y="2752725"/>
          <p14:tracePt t="31217" x="2533650" y="2747963"/>
          <p14:tracePt t="31233" x="2514600" y="2743200"/>
          <p14:tracePt t="31249" x="2490788" y="2733675"/>
          <p14:tracePt t="31266" x="2476500" y="2733675"/>
          <p14:tracePt t="31282" x="2457450" y="2728913"/>
          <p14:tracePt t="31299" x="2452688" y="2728913"/>
          <p14:tracePt t="31395" x="2447925" y="2728913"/>
          <p14:tracePt t="31444" x="2443163" y="2728913"/>
          <p14:tracePt t="31476" x="2438400" y="2728913"/>
          <p14:tracePt t="31507" x="2433638" y="2728913"/>
          <p14:tracePt t="31579" x="2428875" y="2728913"/>
          <p14:tracePt t="31587" x="2424113" y="2728913"/>
          <p14:tracePt t="31603" x="2419350" y="2728913"/>
          <p14:tracePt t="31626" x="2414588" y="2728913"/>
          <p14:tracePt t="31650" x="2409825" y="2728913"/>
          <p14:tracePt t="31665" x="2405063" y="2728913"/>
          <p14:tracePt t="31689" x="2400300" y="2728913"/>
          <p14:tracePt t="31697" x="2400300" y="2733675"/>
          <p14:tracePt t="31712" x="2395538" y="2738438"/>
          <p14:tracePt t="31721" x="2395538" y="2743200"/>
          <p14:tracePt t="31732" x="2395538" y="2747963"/>
          <p14:tracePt t="31749" x="2390775" y="2752725"/>
          <p14:tracePt t="31766" x="2390775" y="2762250"/>
          <p14:tracePt t="31783" x="2386013" y="2776538"/>
          <p14:tracePt t="31800" x="2386013" y="2800350"/>
          <p14:tracePt t="31816" x="2386013" y="2819400"/>
          <p14:tracePt t="31833" x="2381250" y="2838450"/>
          <p14:tracePt t="31849" x="2381250" y="2857500"/>
          <p14:tracePt t="31866" x="2381250" y="2871788"/>
          <p14:tracePt t="31882" x="2381250" y="2881313"/>
          <p14:tracePt t="31899" x="2390775" y="2895600"/>
          <p14:tracePt t="31916" x="2400300" y="2905125"/>
          <p14:tracePt t="31933" x="2405063" y="2905125"/>
          <p14:tracePt t="31949" x="2419350" y="2914650"/>
          <p14:tracePt t="31966" x="2438400" y="2919413"/>
          <p14:tracePt t="31983" x="2471738" y="2933700"/>
          <p14:tracePt t="32000" x="2514600" y="2938463"/>
          <p14:tracePt t="32017" x="2605088" y="2947988"/>
          <p14:tracePt t="32033" x="2638425" y="2947988"/>
          <p14:tracePt t="32050" x="2657475" y="2947988"/>
          <p14:tracePt t="32067" x="2681288" y="2947988"/>
          <p14:tracePt t="32083" x="2686050" y="2947988"/>
          <p14:tracePt t="32100" x="2686050" y="2938463"/>
          <p14:tracePt t="32116" x="2690813" y="2919413"/>
          <p14:tracePt t="32133" x="2695575" y="2871788"/>
          <p14:tracePt t="32150" x="2695575" y="2843213"/>
          <p14:tracePt t="32166" x="2690813" y="2809875"/>
          <p14:tracePt t="32183" x="2686050" y="2771775"/>
          <p14:tracePt t="32201" x="2676525" y="2752725"/>
          <p14:tracePt t="32217" x="2671763" y="2752725"/>
          <p14:tracePt t="32233" x="2671763" y="2747963"/>
          <p14:tracePt t="32266" x="2667000" y="2743200"/>
          <p14:tracePt t="32283" x="2662238" y="2738438"/>
          <p14:tracePt t="32300" x="2643188" y="2728913"/>
          <p14:tracePt t="32317" x="2614613" y="2714625"/>
          <p14:tracePt t="32333" x="2571750" y="2700338"/>
          <p14:tracePt t="32350" x="2533650" y="2686050"/>
          <p14:tracePt t="32367" x="2500313" y="2676525"/>
          <p14:tracePt t="32383" x="2476500" y="2676525"/>
          <p14:tracePt t="32401" x="2447925" y="2676525"/>
          <p14:tracePt t="32416" x="2438400" y="2676525"/>
          <p14:tracePt t="32433" x="2433638" y="2676525"/>
          <p14:tracePt t="32449" x="2424113" y="2686050"/>
          <p14:tracePt t="32466" x="2409825" y="2700338"/>
          <p14:tracePt t="32482" x="2405063" y="2724150"/>
          <p14:tracePt t="32499" x="2390775" y="2747963"/>
          <p14:tracePt t="32516" x="2371725" y="2786063"/>
          <p14:tracePt t="32533" x="2357438" y="2819400"/>
          <p14:tracePt t="32549" x="2343150" y="2852738"/>
          <p14:tracePt t="32552" x="2343150" y="2876550"/>
          <p14:tracePt t="32566" x="2338388" y="2890838"/>
          <p14:tracePt t="32583" x="2338388" y="2919413"/>
          <p14:tracePt t="32599" x="2338388" y="2947988"/>
          <p14:tracePt t="32616" x="2343150" y="2967038"/>
          <p14:tracePt t="32633" x="2352675" y="2981325"/>
          <p14:tracePt t="32650" x="2371725" y="2990850"/>
          <p14:tracePt t="32666" x="2395538" y="3005138"/>
          <p14:tracePt t="32683" x="2424113" y="3009900"/>
          <p14:tracePt t="32700" x="2452688" y="3019425"/>
          <p14:tracePt t="32716" x="2500313" y="3024188"/>
          <p14:tracePt t="32733" x="2557463" y="3024188"/>
          <p14:tracePt t="32750" x="2600325" y="3024188"/>
          <p14:tracePt t="32766" x="2619375" y="3024188"/>
          <p14:tracePt t="32783" x="2633663" y="3019425"/>
          <p14:tracePt t="32801" x="2643188" y="2995613"/>
          <p14:tracePt t="32816" x="2643188" y="2971800"/>
          <p14:tracePt t="32833" x="2643188" y="2947988"/>
          <p14:tracePt t="32849" x="2643188" y="2928938"/>
          <p14:tracePt t="32866" x="2643188" y="2905125"/>
          <p14:tracePt t="32883" x="2643188" y="2886075"/>
          <p14:tracePt t="32899" x="2638425" y="2862263"/>
          <p14:tracePt t="32916" x="2633663" y="2847975"/>
          <p14:tracePt t="32933" x="2628900" y="2828925"/>
          <p14:tracePt t="32949" x="2619375" y="2809875"/>
          <p14:tracePt t="32966" x="2614613" y="2790825"/>
          <p14:tracePt t="32982" x="2605088" y="2776538"/>
          <p14:tracePt t="33000" x="2590800" y="2747963"/>
          <p14:tracePt t="33016" x="2581275" y="2738438"/>
          <p14:tracePt t="33033" x="2566988" y="2728913"/>
          <p14:tracePt t="33050" x="2557463" y="2724150"/>
          <p14:tracePt t="33066" x="2547938" y="2719388"/>
          <p14:tracePt t="33083" x="2538413" y="2719388"/>
          <p14:tracePt t="33100" x="2519363" y="2714625"/>
          <p14:tracePt t="33116" x="2505075" y="2709863"/>
          <p14:tracePt t="33133" x="2476500" y="2709863"/>
          <p14:tracePt t="33150" x="2462213" y="2709863"/>
          <p14:tracePt t="33166" x="2443163" y="2709863"/>
          <p14:tracePt t="33183" x="2438400" y="2709863"/>
          <p14:tracePt t="33201" x="2433638" y="2709863"/>
          <p14:tracePt t="33233" x="2424113" y="2719388"/>
          <p14:tracePt t="33250" x="2419350" y="2738438"/>
          <p14:tracePt t="33266" x="2405063" y="2781300"/>
          <p14:tracePt t="33282" x="2395538" y="2824163"/>
          <p14:tracePt t="33300" x="2390775" y="2862263"/>
          <p14:tracePt t="33317" x="2386013" y="2890838"/>
          <p14:tracePt t="33333" x="2386013" y="2914650"/>
          <p14:tracePt t="33350" x="2386013" y="2938463"/>
          <p14:tracePt t="33367" x="2386013" y="2952750"/>
          <p14:tracePt t="33383" x="2386013" y="2962275"/>
          <p14:tracePt t="33401" x="2400300" y="2986088"/>
          <p14:tracePt t="33417" x="2414588" y="3005138"/>
          <p14:tracePt t="33433" x="2447925" y="3019425"/>
          <p14:tracePt t="33449" x="2495550" y="3033713"/>
          <p14:tracePt t="33466" x="2562225" y="3048000"/>
          <p14:tracePt t="33483" x="2624138" y="3048000"/>
          <p14:tracePt t="33499" x="2676525" y="3048000"/>
          <p14:tracePt t="33516" x="2700338" y="3048000"/>
          <p14:tracePt t="33533" x="2705100" y="3038475"/>
          <p14:tracePt t="33550" x="2709863" y="3019425"/>
          <p14:tracePt t="33556" x="2709863" y="3005138"/>
          <p14:tracePt t="33566" x="2709863" y="2986088"/>
          <p14:tracePt t="33583" x="2709863" y="2924175"/>
          <p14:tracePt t="33600" x="2709863" y="2828925"/>
          <p14:tracePt t="33616" x="2705100" y="2790825"/>
          <p14:tracePt t="33632" x="2700338" y="2771775"/>
          <p14:tracePt t="33649" x="2690813" y="2752725"/>
          <p14:tracePt t="33666" x="2676525" y="2738438"/>
          <p14:tracePt t="33682" x="2671763" y="2738438"/>
          <p14:tracePt t="33717" x="2667000" y="2738438"/>
          <p14:tracePt t="33733" x="2662238" y="2738438"/>
          <p14:tracePt t="33749" x="2657475" y="2738438"/>
          <p14:tracePt t="33771" x="2652713" y="2738438"/>
          <p14:tracePt t="34059" x="2647950" y="2738438"/>
          <p14:tracePt t="34067" x="2643188" y="2738438"/>
          <p14:tracePt t="34075" x="2638425" y="2738438"/>
          <p14:tracePt t="34083" x="2628900" y="2743200"/>
          <p14:tracePt t="34099" x="2609850" y="2762250"/>
          <p14:tracePt t="34116" x="2600325" y="2776538"/>
          <p14:tracePt t="34133" x="2600325" y="2790825"/>
          <p14:tracePt t="34149" x="2595563" y="2800350"/>
          <p14:tracePt t="34166" x="2595563" y="2809875"/>
          <p14:tracePt t="34183" x="2595563" y="2814638"/>
          <p14:tracePt t="34200" x="2590800" y="2833688"/>
          <p14:tracePt t="34216" x="2590800" y="2847975"/>
          <p14:tracePt t="34233" x="2586038" y="2862263"/>
          <p14:tracePt t="34249" x="2586038" y="2876550"/>
          <p14:tracePt t="34266" x="2586038" y="2881313"/>
          <p14:tracePt t="34282" x="2586038" y="2890838"/>
          <p14:tracePt t="34299" x="2586038" y="2905125"/>
          <p14:tracePt t="34316" x="2586038" y="2924175"/>
          <p14:tracePt t="34332" x="2586038" y="2938463"/>
          <p14:tracePt t="34349" x="2586038" y="2957513"/>
          <p14:tracePt t="34366" x="2586038" y="2962275"/>
          <p14:tracePt t="34382" x="2586038" y="2967038"/>
          <p14:tracePt t="34460" x="2581275" y="2967038"/>
          <p14:tracePt t="34564" x="2576513" y="2967038"/>
          <p14:tracePt t="34604" x="2571750" y="2967038"/>
          <p14:tracePt t="34612" x="2566988" y="2967038"/>
          <p14:tracePt t="34657" x="2566988" y="2971800"/>
          <p14:tracePt t="34697" x="2566988" y="2976563"/>
          <p14:tracePt t="34713" x="2566988" y="2981325"/>
          <p14:tracePt t="34721" x="2566988" y="2986088"/>
          <p14:tracePt t="34733" x="2566988" y="2995613"/>
          <p14:tracePt t="34749" x="2566988" y="3000375"/>
          <p14:tracePt t="35043" x="2566988" y="3005138"/>
          <p14:tracePt t="35084" x="2566988" y="3009900"/>
          <p14:tracePt t="35099" x="2566988" y="3014663"/>
          <p14:tracePt t="35124" x="2566988" y="3019425"/>
          <p14:tracePt t="35132" x="2566988" y="3024188"/>
          <p14:tracePt t="35141" x="2566988" y="3028950"/>
          <p14:tracePt t="35149" x="2576513" y="3043238"/>
          <p14:tracePt t="35166" x="2586038" y="3052763"/>
          <p14:tracePt t="35182" x="2595563" y="3071813"/>
          <p14:tracePt t="35200" x="2600325" y="3086100"/>
          <p14:tracePt t="35257" x="2600325" y="3090863"/>
          <p14:tracePt t="35272" x="2605088" y="3100388"/>
          <p14:tracePt t="35281" x="2605088" y="3109913"/>
          <p14:tracePt t="35289" x="2614613" y="3124200"/>
          <p14:tracePt t="35299" x="2633663" y="3143250"/>
          <p14:tracePt t="35316" x="2676525" y="3181350"/>
          <p14:tracePt t="35332" x="2743200" y="3228975"/>
          <p14:tracePt t="35350" x="2828925" y="3262313"/>
          <p14:tracePt t="35367" x="2957513" y="3300413"/>
          <p14:tracePt t="35383" x="3124200" y="3352800"/>
          <p14:tracePt t="35401" x="3519488" y="3433763"/>
          <p14:tracePt t="35416" x="3929063" y="3476625"/>
          <p14:tracePt t="35433" x="4291013" y="3519488"/>
          <p14:tracePt t="35450" x="4633913" y="3543300"/>
          <p14:tracePt t="35467" x="4933950" y="3562350"/>
          <p14:tracePt t="35483" x="5172075" y="3567113"/>
          <p14:tracePt t="35500" x="5319713" y="3567113"/>
          <p14:tracePt t="35517" x="5453063" y="3571875"/>
          <p14:tracePt t="35533" x="5586413" y="3576638"/>
          <p14:tracePt t="35550" x="5686425" y="3581400"/>
          <p14:tracePt t="35556" x="5724525" y="3586163"/>
          <p14:tracePt t="35566" x="5762625" y="3586163"/>
          <p14:tracePt t="35582" x="5834063" y="3586163"/>
          <p14:tracePt t="35600" x="5881688" y="3586163"/>
          <p14:tracePt t="35616" x="5886450" y="3586163"/>
          <p14:tracePt t="35650" x="5891213" y="3586163"/>
          <p14:tracePt t="35681" x="5895975" y="3586163"/>
          <p14:tracePt t="35796" x="5891213" y="3586163"/>
          <p14:tracePt t="35805" x="5886450" y="3586163"/>
          <p14:tracePt t="35816" x="5872163" y="3586163"/>
          <p14:tracePt t="35833" x="5843588" y="3586163"/>
          <p14:tracePt t="35849" x="5805488" y="3586163"/>
          <p14:tracePt t="35866" x="5729288" y="3576638"/>
          <p14:tracePt t="35883" x="5624513" y="3562350"/>
          <p14:tracePt t="35899" x="5534025" y="3548063"/>
          <p14:tracePt t="35916" x="5472113" y="3543300"/>
          <p14:tracePt t="35932" x="5443538" y="3538538"/>
          <p14:tracePt t="35977" x="5448300" y="3538538"/>
          <p14:tracePt t="35985" x="5462588" y="3538538"/>
          <p14:tracePt t="36000" x="5472113" y="3538538"/>
          <p14:tracePt t="36016" x="5510213" y="3538538"/>
          <p14:tracePt t="36033" x="5534025" y="3538538"/>
          <p14:tracePt t="36049" x="5567363" y="3538538"/>
          <p14:tracePt t="36066" x="5591175" y="3538538"/>
          <p14:tracePt t="36083" x="5619750" y="3538538"/>
          <p14:tracePt t="36100" x="5643563" y="3538538"/>
          <p14:tracePt t="36117" x="5662613" y="3538538"/>
          <p14:tracePt t="36220" x="5653088" y="3538538"/>
          <p14:tracePt t="36227" x="5648325" y="3538538"/>
          <p14:tracePt t="36235" x="5638800" y="3538538"/>
          <p14:tracePt t="36250" x="5619750" y="3538538"/>
          <p14:tracePt t="36266" x="5595938" y="3543300"/>
          <p14:tracePt t="36283" x="5567363" y="3543300"/>
          <p14:tracePt t="36299" x="5491163" y="3552825"/>
          <p14:tracePt t="36316" x="5362575" y="3567113"/>
          <p14:tracePt t="36333" x="5205413" y="3567113"/>
          <p14:tracePt t="36350" x="4986338" y="3567113"/>
          <p14:tracePt t="36367" x="4752975" y="3567113"/>
          <p14:tracePt t="36383" x="4514850" y="3562350"/>
          <p14:tracePt t="36401" x="4152900" y="3533775"/>
          <p14:tracePt t="36416" x="3967163" y="3529013"/>
          <p14:tracePt t="36432" x="3833813" y="3529013"/>
          <p14:tracePt t="36449" x="3709988" y="3529013"/>
          <p14:tracePt t="36466" x="3619500" y="3529013"/>
          <p14:tracePt t="36482" x="3548063" y="3533775"/>
          <p14:tracePt t="36499" x="3452813" y="3538538"/>
          <p14:tracePt t="36516" x="3333750" y="3548063"/>
          <p14:tracePt t="36533" x="3205163" y="3557588"/>
          <p14:tracePt t="36549" x="3062288" y="3571875"/>
          <p14:tracePt t="36555" x="2971800" y="3571875"/>
          <p14:tracePt t="36566" x="2890838" y="3571875"/>
          <p14:tracePt t="36583" x="2743200" y="3576638"/>
          <p14:tracePt t="36600" x="2552700" y="3576638"/>
          <p14:tracePt t="36616" x="2471738" y="3576638"/>
          <p14:tracePt t="36633" x="2400300" y="3576638"/>
          <p14:tracePt t="36649" x="2362200" y="3571875"/>
          <p14:tracePt t="36666" x="2338388" y="3571875"/>
          <p14:tracePt t="36682" x="2328863" y="3567113"/>
          <p14:tracePt t="36699" x="2319338" y="3567113"/>
          <p14:tracePt t="36777" x="2314575" y="3562350"/>
          <p14:tracePt t="36785" x="2309813" y="3557588"/>
          <p14:tracePt t="36800" x="2286000" y="3548063"/>
          <p14:tracePt t="36816" x="2266950" y="3548063"/>
          <p14:tracePt t="36833" x="2247900" y="3548063"/>
          <p14:tracePt t="36849" x="2219325" y="3543300"/>
          <p14:tracePt t="36866" x="2195513" y="3543300"/>
          <p14:tracePt t="36883" x="2171700" y="3543300"/>
          <p14:tracePt t="36899" x="2157413" y="3543300"/>
          <p14:tracePt t="36916" x="2147888" y="3543300"/>
          <p14:tracePt t="36996" x="2147888" y="3538538"/>
          <p14:tracePt t="51835" x="2166938" y="3538538"/>
          <p14:tracePt t="51843" x="2205038" y="3533775"/>
          <p14:tracePt t="51854" x="2238375" y="3529013"/>
          <p14:tracePt t="51870" x="2314575" y="3514725"/>
          <p14:tracePt t="51887" x="2419350" y="3490913"/>
          <p14:tracePt t="51905" x="2600325" y="3448050"/>
          <p14:tracePt t="51933" x="2695575" y="3395663"/>
          <p14:tracePt t="51950" x="2709863" y="3376613"/>
          <p14:tracePt t="51967" x="2709863" y="3367088"/>
          <p14:tracePt t="51983" x="2709863" y="3352800"/>
          <p14:tracePt t="52001" x="2709863" y="3281363"/>
          <p14:tracePt t="52017" x="2709863" y="3209925"/>
          <p14:tracePt t="52034" x="2709863" y="3157538"/>
          <p14:tracePt t="52049" x="2705100" y="3124200"/>
          <p14:tracePt t="52067" x="2700338" y="3100388"/>
          <p14:tracePt t="52083" x="2700338" y="3081338"/>
          <p14:tracePt t="52100" x="2700338" y="3076575"/>
          <p14:tracePt t="52117" x="2700338" y="3067050"/>
          <p14:tracePt t="52133" x="2700338" y="3062288"/>
          <p14:tracePt t="52150" x="2700338" y="3057525"/>
          <p14:tracePt t="52167" x="2700338" y="3052763"/>
          <p14:tracePt t="52516" x="2695575" y="3052763"/>
          <p14:tracePt t="52539" x="2690813" y="3052763"/>
          <p14:tracePt t="52565" x="2681288" y="3052763"/>
          <p14:tracePt t="52579" x="2676525" y="3052763"/>
          <p14:tracePt t="52588" x="2671763" y="3052763"/>
          <p14:tracePt t="52616" x="2638425" y="3052763"/>
          <p14:tracePt t="52632" x="2619375" y="3052763"/>
          <p14:tracePt t="52649" x="2614613" y="3052763"/>
          <p14:tracePt t="52666" x="2609850" y="3052763"/>
          <p14:tracePt t="52795" x="2609850" y="3048000"/>
          <p14:tracePt t="52907" x="2614613" y="3048000"/>
          <p14:tracePt t="53189" x="2614613" y="3052763"/>
          <p14:tracePt t="53204" x="2614613" y="3057525"/>
          <p14:tracePt t="53220" x="2614613" y="3062288"/>
          <p14:tracePt t="53236" x="2614613" y="3071813"/>
          <p14:tracePt t="53250" x="2614613" y="3076575"/>
          <p14:tracePt t="53258" x="2614613" y="3086100"/>
          <p14:tracePt t="53268" x="2614613" y="3090863"/>
          <p14:tracePt t="53299" x="2619375" y="3090863"/>
          <p14:tracePt t="53532" x="2619375" y="3086100"/>
          <p14:tracePt t="53540" x="2619375" y="3081338"/>
          <p14:tracePt t="53550" x="2614613" y="3067050"/>
          <p14:tracePt t="53566" x="2605088" y="3057525"/>
          <p14:tracePt t="53583" x="2600325" y="3052763"/>
          <p14:tracePt t="53600" x="2586038" y="3038475"/>
          <p14:tracePt t="53616" x="2581275" y="3033713"/>
          <p14:tracePt t="53633" x="2571750" y="3028950"/>
          <p14:tracePt t="53649" x="2566988" y="3024188"/>
          <p14:tracePt t="53666" x="2566988" y="3019425"/>
          <p14:tracePt t="53820" x="2566988" y="3024188"/>
          <p14:tracePt t="53836" x="2566988" y="3033713"/>
          <p14:tracePt t="53851" x="2566988" y="3038475"/>
          <p14:tracePt t="53874" x="2571750" y="3043238"/>
          <p14:tracePt t="53882" x="2576513" y="3048000"/>
          <p14:tracePt t="53890" x="2581275" y="3052763"/>
          <p14:tracePt t="53906" x="2586038" y="3052763"/>
          <p14:tracePt t="53916" x="2586038" y="3057525"/>
          <p14:tracePt t="53933" x="2595563" y="3062288"/>
          <p14:tracePt t="53949" x="2600325" y="3067050"/>
          <p14:tracePt t="53966" x="2609850" y="3071813"/>
          <p14:tracePt t="53986" x="2633663" y="3076575"/>
          <p14:tracePt t="54001" x="2652713" y="3086100"/>
          <p14:tracePt t="54017" x="2681288" y="3100388"/>
          <p14:tracePt t="54034" x="2709863" y="3105150"/>
          <p14:tracePt t="54050" x="2757488" y="3119438"/>
          <p14:tracePt t="54066" x="2800350" y="3133725"/>
          <p14:tracePt t="54084" x="2843213" y="3138488"/>
          <p14:tracePt t="54099" x="2886075" y="3143250"/>
          <p14:tracePt t="54116" x="2933700" y="3143250"/>
          <p14:tracePt t="54132" x="2967038" y="3143250"/>
          <p14:tracePt t="54149" x="2990850" y="3143250"/>
          <p14:tracePt t="54167" x="3014663" y="3143250"/>
          <p14:tracePt t="54183" x="3028950" y="3143250"/>
          <p14:tracePt t="54201" x="3071813" y="3143250"/>
          <p14:tracePt t="54217" x="3095625" y="3143250"/>
          <p14:tracePt t="54233" x="3119438" y="3143250"/>
          <p14:tracePt t="54250" x="3128963" y="3143250"/>
          <p14:tracePt t="54499" x="3133725" y="3143250"/>
          <p14:tracePt t="54507" x="3148013" y="3143250"/>
          <p14:tracePt t="54517" x="3167063" y="3152775"/>
          <p14:tracePt t="54533" x="3205163" y="3162300"/>
          <p14:tracePt t="54550" x="3257550" y="3167063"/>
          <p14:tracePt t="54567" x="3319463" y="3171825"/>
          <p14:tracePt t="54573" x="3352800" y="3176588"/>
          <p14:tracePt t="54583" x="3376613" y="3176588"/>
          <p14:tracePt t="54599" x="3409950" y="3176588"/>
          <p14:tracePt t="54616" x="3457575" y="3176588"/>
          <p14:tracePt t="54633" x="3471863" y="3171825"/>
          <p14:tracePt t="54650" x="3486150" y="3162300"/>
          <p14:tracePt t="54667" x="3505200" y="3148013"/>
          <p14:tracePt t="54682" x="3514725" y="3133725"/>
          <p14:tracePt t="54699" x="3529013" y="3109913"/>
          <p14:tracePt t="54716" x="3552825" y="3052763"/>
          <p14:tracePt t="54733" x="3567113" y="3000375"/>
          <p14:tracePt t="54749" x="3576638" y="2957513"/>
          <p14:tracePt t="54766" x="3581400" y="2928938"/>
          <p14:tracePt t="54783" x="3581400" y="2905125"/>
          <p14:tracePt t="54801" x="3581400" y="2886075"/>
          <p14:tracePt t="54817" x="3581400" y="2881313"/>
          <p14:tracePt t="54833" x="3581400" y="2876550"/>
          <p14:tracePt t="54898" x="3576638" y="2876550"/>
          <p14:tracePt t="54946" x="3571875" y="2876550"/>
          <p14:tracePt t="54979" x="3567113" y="2876550"/>
          <p14:tracePt t="54986" x="3562350" y="2876550"/>
          <p14:tracePt t="55000" x="3557588" y="2876550"/>
          <p14:tracePt t="55016" x="3548063" y="2881313"/>
          <p14:tracePt t="55033" x="3529013" y="2895600"/>
          <p14:tracePt t="55050" x="3505200" y="2933700"/>
          <p14:tracePt t="55066" x="3481388" y="2986088"/>
          <p14:tracePt t="55083" x="3467100" y="3033713"/>
          <p14:tracePt t="55099" x="3462338" y="3071813"/>
          <p14:tracePt t="55116" x="3462338" y="3119438"/>
          <p14:tracePt t="55133" x="3462338" y="3143250"/>
          <p14:tracePt t="55150" x="3462338" y="3157538"/>
          <p14:tracePt t="55166" x="3462338" y="3162300"/>
          <p14:tracePt t="55183" x="3462338" y="3171825"/>
          <p14:tracePt t="55200" x="3462338" y="3190875"/>
          <p14:tracePt t="55216" x="3457575" y="3209925"/>
          <p14:tracePt t="55232" x="3457575" y="3219450"/>
          <p14:tracePt t="55249" x="3457575" y="3243263"/>
          <p14:tracePt t="55266" x="3448050" y="3276600"/>
          <p14:tracePt t="55283" x="3429000" y="3319463"/>
          <p14:tracePt t="55300" x="3409950" y="3362325"/>
          <p14:tracePt t="55317" x="3386138" y="3395663"/>
          <p14:tracePt t="55333" x="3357563" y="3419475"/>
          <p14:tracePt t="55350" x="3333750" y="3433763"/>
          <p14:tracePt t="55367" x="3309938" y="3448050"/>
          <p14:tracePt t="55383" x="3281363" y="3452813"/>
          <p14:tracePt t="55401" x="3219450" y="3467100"/>
          <p14:tracePt t="55417" x="3171825" y="3467100"/>
          <p14:tracePt t="55433" x="3109913" y="3467100"/>
          <p14:tracePt t="55450" x="3048000" y="3462338"/>
          <p14:tracePt t="55466" x="3005138" y="3457575"/>
          <p14:tracePt t="55483" x="2976563" y="3452813"/>
          <p14:tracePt t="55499" x="2971800" y="3452813"/>
          <p14:tracePt t="55533" x="2967038" y="3452813"/>
          <p14:tracePt t="55556" x="2962275" y="3452813"/>
          <p14:tracePt t="55571" x="2957513" y="3452813"/>
          <p14:tracePt t="55583" x="2947988" y="3452813"/>
          <p14:tracePt t="55601" x="2924175" y="3448050"/>
          <p14:tracePt t="55616" x="2905125" y="3443288"/>
          <p14:tracePt t="55632" x="2890838" y="3438525"/>
          <p14:tracePt t="55649" x="2886075" y="3438525"/>
          <p14:tracePt t="55697" x="2881313" y="3438525"/>
          <p14:tracePt t="55720" x="2876550" y="3438525"/>
          <p14:tracePt t="55779" x="2876550" y="3433763"/>
          <p14:tracePt t="55788" x="2871788" y="3429000"/>
          <p14:tracePt t="55801" x="2862263" y="3419475"/>
          <p14:tracePt t="55816" x="2847975" y="3400425"/>
          <p14:tracePt t="55833" x="2838450" y="3381375"/>
          <p14:tracePt t="55849" x="2833688" y="3362325"/>
          <p14:tracePt t="55866" x="2828925" y="3348038"/>
          <p14:tracePt t="55883" x="2824163" y="3333750"/>
          <p14:tracePt t="55899" x="2824163" y="3324225"/>
          <p14:tracePt t="62203" x="2833688" y="3324225"/>
          <p14:tracePt t="62213" x="2867025" y="3324225"/>
          <p14:tracePt t="62226" x="2976563" y="3338513"/>
          <p14:tracePt t="62242" x="3105150" y="3357563"/>
          <p14:tracePt t="62260" x="3262313" y="3381375"/>
          <p14:tracePt t="62277" x="3481388" y="3400425"/>
          <p14:tracePt t="62293" x="3733800" y="3419475"/>
          <p14:tracePt t="62316" x="4095750" y="3424238"/>
          <p14:tracePt t="62333" x="4295775" y="3433763"/>
          <p14:tracePt t="62350" x="4414838" y="3438525"/>
          <p14:tracePt t="62366" x="4524375" y="3438525"/>
          <p14:tracePt t="62383" x="4595813" y="3438525"/>
          <p14:tracePt t="62401" x="4700588" y="3424238"/>
          <p14:tracePt t="62417" x="4757738" y="3409950"/>
          <p14:tracePt t="62433" x="4819650" y="3395663"/>
          <p14:tracePt t="62450" x="4872038" y="3386138"/>
          <p14:tracePt t="62466" x="4914900" y="3376613"/>
          <p14:tracePt t="62483" x="4953000" y="3371850"/>
          <p14:tracePt t="62500" x="5005388" y="3371850"/>
          <p14:tracePt t="62516" x="5053013" y="3371850"/>
          <p14:tracePt t="62533" x="5081588" y="3367088"/>
          <p14:tracePt t="62550" x="5086350" y="3367088"/>
          <p14:tracePt t="62579" x="5086350" y="3362325"/>
          <p14:tracePt t="62586" x="5072063" y="3357563"/>
          <p14:tracePt t="62601" x="5029200" y="3348038"/>
          <p14:tracePt t="62617" x="4967288" y="3333750"/>
          <p14:tracePt t="62632" x="4891088" y="3324225"/>
          <p14:tracePt t="62649" x="4843463" y="3309938"/>
          <p14:tracePt t="62666" x="4814888" y="3305175"/>
          <p14:tracePt t="62682" x="4805363" y="3300413"/>
          <p14:tracePt t="62699" x="4800600" y="3300413"/>
          <p14:tracePt t="62733" x="4800600" y="3295650"/>
          <p14:tracePt t="62749" x="4795838" y="3290888"/>
          <p14:tracePt t="62766" x="4791075" y="3290888"/>
          <p14:tracePt t="62782" x="4786313" y="3281363"/>
          <p14:tracePt t="62799" x="4781550" y="3281363"/>
          <p14:tracePt t="62816" x="4776788" y="3281363"/>
          <p14:tracePt t="62833" x="4776788" y="3276600"/>
          <p14:tracePt t="62849" x="4767263" y="3276600"/>
          <p14:tracePt t="62866" x="4762500" y="3276600"/>
          <p14:tracePt t="62900" x="4757738" y="3271838"/>
          <p14:tracePt t="62916" x="4748213" y="3262313"/>
          <p14:tracePt t="62933" x="4729163" y="3238500"/>
          <p14:tracePt t="62949" x="4710113" y="3214688"/>
          <p14:tracePt t="62966" x="4695825" y="3200400"/>
          <p14:tracePt t="62983" x="4686300" y="3186113"/>
          <p14:tracePt t="62999" x="4681538" y="3171825"/>
          <p14:tracePt t="63016" x="4681538" y="3162300"/>
          <p14:tracePt t="63033" x="4681538" y="3157538"/>
          <p14:tracePt t="63122" x="4681538" y="3152775"/>
          <p14:tracePt t="63211" x="4681538" y="3148013"/>
          <p14:tracePt t="63220" x="4676775" y="3143250"/>
          <p14:tracePt t="63233" x="4672013" y="3124200"/>
          <p14:tracePt t="63249" x="4672013" y="3114675"/>
          <p14:tracePt t="63266" x="4672013" y="3105150"/>
          <p14:tracePt t="63282" x="4667250" y="3100388"/>
          <p14:tracePt t="63299" x="4667250" y="3090863"/>
          <p14:tracePt t="63316" x="4667250" y="3086100"/>
          <p14:tracePt t="63333" x="4667250" y="3076575"/>
          <p14:tracePt t="63350" x="4662488" y="3071813"/>
          <p14:tracePt t="63367" x="4662488" y="3067050"/>
          <p14:tracePt t="63383" x="4662488" y="3057525"/>
          <p14:tracePt t="63401" x="4652963" y="3033713"/>
          <p14:tracePt t="63416" x="4643438" y="3014663"/>
          <p14:tracePt t="63750" x="4648200" y="3014663"/>
          <p14:tracePt t="63760" x="4657725" y="3014663"/>
          <p14:tracePt t="63774" x="4672013" y="3014663"/>
          <p14:tracePt t="63791" x="4695825" y="3019425"/>
          <p14:tracePt t="63809" x="4719638" y="3019425"/>
          <p14:tracePt t="63824" x="4729163" y="3019425"/>
          <p14:tracePt t="63850" x="4748213" y="3019425"/>
          <p14:tracePt t="63866" x="4772025" y="3019425"/>
          <p14:tracePt t="63883" x="4795838" y="3019425"/>
          <p14:tracePt t="63899" x="4814888" y="3009900"/>
          <p14:tracePt t="63916" x="4843463" y="2990850"/>
          <p14:tracePt t="63933" x="4852988" y="2976563"/>
          <p14:tracePt t="63949" x="4857750" y="2962275"/>
          <p14:tracePt t="63966" x="4857750" y="2947988"/>
          <p14:tracePt t="63983" x="4862513" y="2938463"/>
          <p14:tracePt t="64000" x="4867275" y="2919413"/>
          <p14:tracePt t="64016" x="4867275" y="2914650"/>
          <p14:tracePt t="64033" x="4867275" y="2905125"/>
          <p14:tracePt t="64049" x="4872038" y="2905125"/>
          <p14:tracePt t="64067" x="4872038" y="2900363"/>
          <p14:tracePt t="64083" x="4872038" y="2886075"/>
          <p14:tracePt t="64099" x="4872038" y="2876550"/>
          <p14:tracePt t="64116" x="4872038" y="2857500"/>
          <p14:tracePt t="64133" x="4872038" y="2838450"/>
          <p14:tracePt t="64149" x="4867275" y="2819400"/>
          <p14:tracePt t="64166" x="4857750" y="2800350"/>
          <p14:tracePt t="64183" x="4848225" y="2786063"/>
          <p14:tracePt t="64200" x="4829175" y="2762250"/>
          <p14:tracePt t="64217" x="4824413" y="2747963"/>
          <p14:tracePt t="64233" x="4814888" y="2738438"/>
          <p14:tracePt t="64250" x="4810125" y="2728913"/>
          <p14:tracePt t="64266" x="4805363" y="2724150"/>
          <p14:tracePt t="64283" x="4791075" y="2724150"/>
          <p14:tracePt t="64300" x="4776788" y="2714625"/>
          <p14:tracePt t="64317" x="4772025" y="2714625"/>
          <p14:tracePt t="64333" x="4762500" y="2714625"/>
          <p14:tracePt t="64350" x="4752975" y="2714625"/>
          <p14:tracePt t="64367" x="4743450" y="2714625"/>
          <p14:tracePt t="64383" x="4724400" y="2709863"/>
          <p14:tracePt t="64401" x="4695825" y="2709863"/>
          <p14:tracePt t="64416" x="4667250" y="2709863"/>
          <p14:tracePt t="64433" x="4652963" y="2709863"/>
          <p14:tracePt t="64450" x="4638675" y="2709863"/>
          <p14:tracePt t="64466" x="4619625" y="2709863"/>
          <p14:tracePt t="64483" x="4610100" y="2709863"/>
          <p14:tracePt t="64499" x="4595813" y="2709863"/>
          <p14:tracePt t="64516" x="4591050" y="2714625"/>
          <p14:tracePt t="64533" x="4586288" y="2719388"/>
          <p14:tracePt t="64549" x="4581525" y="2724150"/>
          <p14:tracePt t="64566" x="4576763" y="2738438"/>
          <p14:tracePt t="64568" x="4576763" y="2747963"/>
          <p14:tracePt t="64582" x="4572000" y="2757488"/>
          <p14:tracePt t="64600" x="4567238" y="2786063"/>
          <p14:tracePt t="64616" x="4567238" y="2800350"/>
          <p14:tracePt t="64632" x="4567238" y="2814638"/>
          <p14:tracePt t="64649" x="4567238" y="2828925"/>
          <p14:tracePt t="64666" x="4567238" y="2852738"/>
          <p14:tracePt t="64683" x="4567238" y="2871788"/>
          <p14:tracePt t="64699" x="4567238" y="2881313"/>
          <p14:tracePt t="64716" x="4567238" y="2895600"/>
          <p14:tracePt t="64733" x="4572000" y="2914650"/>
          <p14:tracePt t="64750" x="4576763" y="2928938"/>
          <p14:tracePt t="64766" x="4581525" y="2938463"/>
          <p14:tracePt t="64783" x="4581525" y="2943225"/>
          <p14:tracePt t="64801" x="4591050" y="2952750"/>
          <p14:tracePt t="64816" x="4591050" y="2957513"/>
          <p14:tracePt t="64833" x="4600575" y="2962275"/>
          <p14:tracePt t="64849" x="4614863" y="2967038"/>
          <p14:tracePt t="64866" x="4619625" y="2976563"/>
          <p14:tracePt t="64882" x="4629150" y="2981325"/>
          <p14:tracePt t="64899" x="4638675" y="2981325"/>
          <p14:tracePt t="64916" x="4643438" y="2986088"/>
          <p14:tracePt t="64933" x="4648200" y="2986088"/>
          <p14:tracePt t="64950" x="4652963" y="2990850"/>
          <p14:tracePt t="64966" x="4657725" y="2990850"/>
          <p14:tracePt t="64984" x="4662488" y="2990850"/>
          <p14:tracePt t="65000" x="4667250" y="2990850"/>
          <p14:tracePt t="65016" x="4676775" y="2990850"/>
          <p14:tracePt t="65033" x="4681538" y="2990850"/>
          <p14:tracePt t="65050" x="4686300" y="2990850"/>
          <p14:tracePt t="65066" x="4705350" y="2990850"/>
          <p14:tracePt t="65083" x="4714875" y="2990850"/>
          <p14:tracePt t="65100" x="4733925" y="2990850"/>
          <p14:tracePt t="65116" x="4738688" y="2990850"/>
          <p14:tracePt t="65133" x="4743450" y="2990850"/>
          <p14:tracePt t="65150" x="4752975" y="2986088"/>
          <p14:tracePt t="65167" x="4757738" y="2981325"/>
          <p14:tracePt t="65183" x="4762500" y="2981325"/>
          <p14:tracePt t="65200" x="4776788" y="2971800"/>
          <p14:tracePt t="65217" x="4781550" y="2967038"/>
          <p14:tracePt t="65250" x="4786313" y="2967038"/>
          <p14:tracePt t="65273" x="4791075" y="2967038"/>
          <p14:tracePt t="65286" x="4795838" y="2967038"/>
          <p14:tracePt t="65299" x="4800600" y="2967038"/>
          <p14:tracePt t="65316" x="4810125" y="2967038"/>
          <p14:tracePt t="65333" x="4814888" y="2962275"/>
          <p14:tracePt t="65350" x="4819650" y="2962275"/>
          <p14:tracePt t="65367" x="4819650" y="2957513"/>
          <p14:tracePt t="65383" x="4824413" y="2952750"/>
          <p14:tracePt t="65401" x="4829175" y="2928938"/>
          <p14:tracePt t="65417" x="4833938" y="2914650"/>
          <p14:tracePt t="65433" x="4838700" y="2900363"/>
          <p14:tracePt t="65449" x="4838700" y="2886075"/>
          <p14:tracePt t="65466" x="4838700" y="2871788"/>
          <p14:tracePt t="65482" x="4838700" y="2857500"/>
          <p14:tracePt t="65499" x="4838700" y="2847975"/>
          <p14:tracePt t="65516" x="4838700" y="2838450"/>
          <p14:tracePt t="65532" x="4838700" y="2828925"/>
          <p14:tracePt t="65549" x="4838700" y="2819400"/>
          <p14:tracePt t="65566" x="4838700" y="2814638"/>
          <p14:tracePt t="65568" x="4833938" y="2814638"/>
          <p14:tracePt t="65582" x="4829175" y="2814638"/>
          <p14:tracePt t="65600" x="4824413" y="2805113"/>
          <p14:tracePt t="65616" x="4814888" y="2805113"/>
          <p14:tracePt t="65632" x="4800600" y="2805113"/>
          <p14:tracePt t="65650" x="4786313" y="2800350"/>
          <p14:tracePt t="65666" x="4767263" y="2795588"/>
          <p14:tracePt t="65683" x="4748213" y="2795588"/>
          <p14:tracePt t="65700" x="4733925" y="2795588"/>
          <p14:tracePt t="65716" x="4729163" y="2795588"/>
          <p14:tracePt t="65733" x="4719638" y="2795588"/>
          <p14:tracePt t="65750" x="4714875" y="2795588"/>
          <p14:tracePt t="65783" x="4705350" y="2795588"/>
          <p14:tracePt t="65801" x="4686300" y="2795588"/>
          <p14:tracePt t="65816" x="4672013" y="2805113"/>
          <p14:tracePt t="65833" x="4657725" y="2819400"/>
          <p14:tracePt t="65849" x="4643438" y="2838450"/>
          <p14:tracePt t="65866" x="4638675" y="2862263"/>
          <p14:tracePt t="65882" x="4629150" y="2876550"/>
          <p14:tracePt t="65899" x="4624388" y="2895600"/>
          <p14:tracePt t="65916" x="4624388" y="2914650"/>
          <p14:tracePt t="65933" x="4624388" y="2938463"/>
          <p14:tracePt t="65950" x="4624388" y="2962275"/>
          <p14:tracePt t="65966" x="4624388" y="2986088"/>
          <p14:tracePt t="65983" x="4624388" y="2995613"/>
          <p14:tracePt t="66001" x="4633913" y="3014663"/>
          <p14:tracePt t="66016" x="4643438" y="3028950"/>
          <p14:tracePt t="66033" x="4652963" y="3043238"/>
          <p14:tracePt t="66050" x="4672013" y="3052763"/>
          <p14:tracePt t="66066" x="4695825" y="3062288"/>
          <p14:tracePt t="66083" x="4719638" y="3067050"/>
          <p14:tracePt t="66100" x="4743450" y="3076575"/>
          <p14:tracePt t="66117" x="4757738" y="3081338"/>
          <p14:tracePt t="66133" x="4786313" y="3081338"/>
          <p14:tracePt t="66150" x="4810125" y="3086100"/>
          <p14:tracePt t="66166" x="4829175" y="3086100"/>
          <p14:tracePt t="66183" x="4848225" y="3090863"/>
          <p14:tracePt t="66201" x="4872038" y="3090863"/>
          <p14:tracePt t="66217" x="4881563" y="3090863"/>
          <p14:tracePt t="66233" x="4891088" y="3090863"/>
          <p14:tracePt t="66249" x="4900613" y="3081338"/>
          <p14:tracePt t="66266" x="4905375" y="3067050"/>
          <p14:tracePt t="66282" x="4910138" y="3052763"/>
          <p14:tracePt t="66299" x="4924425" y="3038475"/>
          <p14:tracePt t="66316" x="4929188" y="3024188"/>
          <p14:tracePt t="66332" x="4929188" y="3019425"/>
          <p14:tracePt t="66349" x="4933950" y="3019425"/>
          <p14:tracePt t="66366" x="4938713" y="3014663"/>
          <p14:tracePt t="66383" x="4938713" y="3009900"/>
          <p14:tracePt t="66400" x="4953000" y="2990850"/>
          <p14:tracePt t="66417" x="4957763" y="2971800"/>
          <p14:tracePt t="66433" x="4957763" y="2957513"/>
          <p14:tracePt t="66450" x="4957763" y="2933700"/>
          <p14:tracePt t="66467" x="4957763" y="2914650"/>
          <p14:tracePt t="66483" x="4948238" y="2895600"/>
          <p14:tracePt t="66500" x="4938713" y="2881313"/>
          <p14:tracePt t="66517" x="4933950" y="2871788"/>
          <p14:tracePt t="66533" x="4924425" y="2867025"/>
          <p14:tracePt t="66550" x="4910138" y="2862263"/>
          <p14:tracePt t="66567" x="4891088" y="2852738"/>
          <p14:tracePt t="66573" x="4872038" y="2847975"/>
          <p14:tracePt t="66583" x="4852988" y="2843213"/>
          <p14:tracePt t="66601" x="4791075" y="2838450"/>
          <p14:tracePt t="66616" x="4767263" y="2838450"/>
          <p14:tracePt t="66633" x="4748213" y="2838450"/>
          <p14:tracePt t="66649" x="4743450" y="2838450"/>
          <p14:tracePt t="66666" x="4738688" y="2847975"/>
          <p14:tracePt t="66683" x="4733925" y="2852738"/>
          <p14:tracePt t="66699" x="4729163" y="2867025"/>
          <p14:tracePt t="66716" x="4719638" y="2890838"/>
          <p14:tracePt t="66732" x="4714875" y="2905125"/>
          <p14:tracePt t="66749" x="4714875" y="2914650"/>
          <p14:tracePt t="66766" x="4714875" y="2928938"/>
          <p14:tracePt t="66783" x="4714875" y="2952750"/>
          <p14:tracePt t="66800" x="4724400" y="3000375"/>
          <p14:tracePt t="66816" x="4729163" y="3024188"/>
          <p14:tracePt t="66833" x="4733925" y="3038475"/>
          <p14:tracePt t="66849" x="4733925" y="3043238"/>
          <p14:tracePt t="66866" x="4743450" y="3043238"/>
          <p14:tracePt t="66882" x="4743450" y="3048000"/>
          <p14:tracePt t="66899" x="4743450" y="3052763"/>
          <p14:tracePt t="66916" x="4748213" y="3052763"/>
          <p14:tracePt t="66932" x="4752975" y="3052763"/>
          <p14:tracePt t="66966" x="4762500" y="3052763"/>
          <p14:tracePt t="67627" x="4767263" y="3052763"/>
          <p14:tracePt t="67632" x="4772025" y="3052763"/>
          <p14:tracePt t="67641" x="4776788" y="3052763"/>
          <p14:tracePt t="67737" x="4781550" y="3052763"/>
          <p14:tracePt t="67761" x="4786313" y="3052763"/>
          <p14:tracePt t="67794" x="4791075" y="3052763"/>
          <p14:tracePt t="67890" x="4795838" y="3052763"/>
          <p14:tracePt t="67906" x="4800600" y="3052763"/>
          <p14:tracePt t="67914" x="4805363" y="3052763"/>
          <p14:tracePt t="67922" x="4810125" y="3057525"/>
          <p14:tracePt t="67933" x="4819650" y="3057525"/>
          <p14:tracePt t="67950" x="4838700" y="3057525"/>
          <p14:tracePt t="67966" x="4857750" y="3062288"/>
          <p14:tracePt t="67983" x="4872038" y="3062288"/>
          <p14:tracePt t="67999" x="4876800" y="3067050"/>
          <p14:tracePt t="68017" x="4886325" y="3067050"/>
          <p14:tracePt t="68061" x="4891088" y="3067050"/>
          <p14:tracePt t="68083" x="4895850" y="3062288"/>
          <p14:tracePt t="68092" x="4895850" y="3057525"/>
          <p14:tracePt t="68099" x="4900613" y="3052763"/>
          <p14:tracePt t="68116" x="4905375" y="3048000"/>
          <p14:tracePt t="68133" x="4905375" y="3038475"/>
          <p14:tracePt t="68149" x="4905375" y="3024188"/>
          <p14:tracePt t="68166" x="4905375" y="3005138"/>
          <p14:tracePt t="68183" x="4905375" y="2986088"/>
          <p14:tracePt t="68201" x="4900613" y="2957513"/>
          <p14:tracePt t="68216" x="4891088" y="2933700"/>
          <p14:tracePt t="68233" x="4867275" y="2905125"/>
          <p14:tracePt t="68250" x="4848225" y="2890838"/>
          <p14:tracePt t="68266" x="4833938" y="2881313"/>
          <p14:tracePt t="68283" x="4829175" y="2876550"/>
          <p14:tracePt t="68299" x="4829175" y="2871788"/>
          <p14:tracePt t="68316" x="4824413" y="2867025"/>
          <p14:tracePt t="68333" x="4819650" y="2857500"/>
          <p14:tracePt t="68349" x="4814888" y="2847975"/>
          <p14:tracePt t="68366" x="4800600" y="2838450"/>
          <p14:tracePt t="68383" x="4781550" y="2828925"/>
          <p14:tracePt t="68401" x="4772025" y="2824163"/>
          <p14:tracePt t="68416" x="4767263" y="2824163"/>
          <p14:tracePt t="68483" x="4762500" y="2824163"/>
          <p14:tracePt t="68490" x="4757738" y="2824163"/>
          <p14:tracePt t="68500" x="4752975" y="2824163"/>
          <p14:tracePt t="68516" x="4748213" y="2824163"/>
          <p14:tracePt t="68533" x="4738688" y="2824163"/>
          <p14:tracePt t="68550" x="4733925" y="2824163"/>
          <p14:tracePt t="68566" x="4719638" y="2824163"/>
          <p14:tracePt t="68571" x="4714875" y="2824163"/>
          <p14:tracePt t="68582" x="4705350" y="2828925"/>
          <p14:tracePt t="68601" x="4681538" y="2833688"/>
          <p14:tracePt t="68616" x="4662488" y="2838450"/>
          <p14:tracePt t="68633" x="4652963" y="2847975"/>
          <p14:tracePt t="68649" x="4643438" y="2847975"/>
          <p14:tracePt t="68683" x="4643438" y="2852738"/>
          <p14:tracePt t="68700" x="4638675" y="2857500"/>
          <p14:tracePt t="68716" x="4638675" y="2867025"/>
          <p14:tracePt t="68733" x="4633913" y="2871788"/>
          <p14:tracePt t="68749" x="4633913" y="2881313"/>
          <p14:tracePt t="68766" x="4633913" y="2890838"/>
          <p14:tracePt t="68783" x="4633913" y="2905125"/>
          <p14:tracePt t="68800" x="4633913" y="2933700"/>
          <p14:tracePt t="68816" x="4638675" y="2952750"/>
          <p14:tracePt t="68833" x="4643438" y="2971800"/>
          <p14:tracePt t="68849" x="4648200" y="2981325"/>
          <p14:tracePt t="68866" x="4657725" y="2995613"/>
          <p14:tracePt t="68882" x="4667250" y="3000375"/>
          <p14:tracePt t="68900" x="4672013" y="3009900"/>
          <p14:tracePt t="68916" x="4681538" y="3014663"/>
          <p14:tracePt t="68933" x="4681538" y="3019425"/>
          <p14:tracePt t="68950" x="4691063" y="3019425"/>
          <p14:tracePt t="68967" x="4695825" y="3024188"/>
          <p14:tracePt t="68983" x="4710113" y="3024188"/>
          <p14:tracePt t="69000" x="4724400" y="3024188"/>
          <p14:tracePt t="69016" x="4733925" y="3024188"/>
          <p14:tracePt t="69033" x="4743450" y="3024188"/>
          <p14:tracePt t="69049" x="4752975" y="3024188"/>
          <p14:tracePt t="69066" x="4757738" y="3019425"/>
          <p14:tracePt t="69083" x="4762500" y="3014663"/>
          <p14:tracePt t="69099" x="4772025" y="3005138"/>
          <p14:tracePt t="69116" x="4776788" y="3005138"/>
          <p14:tracePt t="69132" x="4786313" y="2995613"/>
          <p14:tracePt t="69149" x="4791075" y="2990850"/>
          <p14:tracePt t="69166" x="4795838" y="2986088"/>
          <p14:tracePt t="69183" x="4800600" y="2981325"/>
          <p14:tracePt t="69201" x="4810125" y="2967038"/>
          <p14:tracePt t="69216" x="4810125" y="2952750"/>
          <p14:tracePt t="69234" x="4810125" y="2943225"/>
          <p14:tracePt t="69250" x="4810125" y="2928938"/>
          <p14:tracePt t="69266" x="4810125" y="2914650"/>
          <p14:tracePt t="69283" x="4810125" y="2900363"/>
          <p14:tracePt t="69299" x="4810125" y="2886075"/>
          <p14:tracePt t="69316" x="4805363" y="2876550"/>
          <p14:tracePt t="69332" x="4795838" y="2867025"/>
          <p14:tracePt t="69349" x="4786313" y="2857500"/>
          <p14:tracePt t="69366" x="4781550" y="2852738"/>
          <p14:tracePt t="69383" x="4776788" y="2852738"/>
          <p14:tracePt t="69401" x="4767263" y="2847975"/>
          <p14:tracePt t="69416" x="4757738" y="2843213"/>
          <p14:tracePt t="69433" x="4748213" y="2843213"/>
          <p14:tracePt t="69449" x="4743450" y="2843213"/>
          <p14:tracePt t="71211" x="4743450" y="2847975"/>
          <p14:tracePt t="71219" x="4743450" y="2852738"/>
          <p14:tracePt t="71234" x="4743450" y="2867025"/>
          <p14:tracePt t="71266" x="4743450" y="2871788"/>
          <p14:tracePt t="71428" x="4738688" y="2871788"/>
          <p14:tracePt t="71453" x="4738688" y="2876550"/>
          <p14:tracePt t="71466" x="4733925" y="2876550"/>
          <p14:tracePt t="71483" x="4729163" y="2876550"/>
          <p14:tracePt t="72054" x="4733925" y="2876550"/>
          <p14:tracePt t="72059" x="4733925" y="2881313"/>
          <p14:tracePt t="72068" x="4738688" y="2881313"/>
          <p14:tracePt t="72084" x="4743450" y="2881313"/>
          <p14:tracePt t="72099" x="4752975" y="2881313"/>
          <p14:tracePt t="72115" x="4757738" y="2881313"/>
          <p14:tracePt t="72149" x="4772025" y="2881313"/>
          <p14:tracePt t="72166" x="4781550" y="2881313"/>
          <p14:tracePt t="72182" x="4786313" y="2876550"/>
          <p14:tracePt t="72199" x="4786313" y="2867025"/>
          <p14:tracePt t="72216" x="4791075" y="2852738"/>
          <p14:tracePt t="72233" x="4791075" y="2838450"/>
          <p14:tracePt t="72250" x="4781550" y="2814638"/>
          <p14:tracePt t="72266" x="4762500" y="2800350"/>
          <p14:tracePt t="72283" x="4748213" y="2786063"/>
          <p14:tracePt t="72300" x="4729163" y="2776538"/>
          <p14:tracePt t="72316" x="4719638" y="2776538"/>
          <p14:tracePt t="72435" x="4714875" y="2776538"/>
          <p14:tracePt t="72451" x="4710113" y="2776538"/>
          <p14:tracePt t="72458" x="4705350" y="2776538"/>
          <p14:tracePt t="72474" x="4700588" y="2776538"/>
          <p14:tracePt t="72490" x="4695825" y="2776538"/>
          <p14:tracePt t="72523" x="4691063" y="2776538"/>
          <p14:tracePt t="72539" x="4686300" y="2776538"/>
          <p14:tracePt t="72546" x="4681538" y="2776538"/>
          <p14:tracePt t="72563" x="4672013" y="2781300"/>
          <p14:tracePt t="72579" x="4667250" y="2786063"/>
          <p14:tracePt t="72595" x="4657725" y="2786063"/>
          <p14:tracePt t="72603" x="4652963" y="2786063"/>
          <p14:tracePt t="72673" x="4652963" y="2790825"/>
          <p14:tracePt t="72690" x="4652963" y="2795588"/>
          <p14:tracePt t="72696" x="4652963" y="2800350"/>
          <p14:tracePt t="72704" x="4652963" y="2805113"/>
          <p14:tracePt t="72721" x="4652963" y="2814638"/>
          <p14:tracePt t="72732" x="4652963" y="2819400"/>
          <p14:tracePt t="72749" x="4652963" y="2828925"/>
          <p14:tracePt t="72767" x="4652963" y="2847975"/>
          <p14:tracePt t="72783" x="4652963" y="2857500"/>
          <p14:tracePt t="72801" x="4652963" y="2867025"/>
          <p14:tracePt t="72817" x="4652963" y="2876550"/>
          <p14:tracePt t="72833" x="4652963" y="2886075"/>
          <p14:tracePt t="72849" x="4657725" y="2900363"/>
          <p14:tracePt t="72866" x="4662488" y="2924175"/>
          <p14:tracePt t="72883" x="4681538" y="2943225"/>
          <p14:tracePt t="72900" x="4705350" y="2967038"/>
          <p14:tracePt t="72917" x="4729163" y="2986088"/>
          <p14:tracePt t="72933" x="4752975" y="2990850"/>
          <p14:tracePt t="72950" x="4757738" y="2990850"/>
          <p14:tracePt t="72967" x="4762500" y="2990850"/>
          <p14:tracePt t="72983" x="4762500" y="2986088"/>
          <p14:tracePt t="73001" x="4767263" y="2957513"/>
          <p14:tracePt t="73017" x="4767263" y="2947988"/>
          <p14:tracePt t="73033" x="4767263" y="2938463"/>
          <p14:tracePt t="73084" x="4772025" y="2938463"/>
          <p14:tracePt t="73107" x="4776788" y="2938463"/>
          <p14:tracePt t="73115" x="4781550" y="2933700"/>
          <p14:tracePt t="73123" x="4786313" y="2933700"/>
          <p14:tracePt t="73139" x="4795838" y="2933700"/>
          <p14:tracePt t="73156" x="4800600" y="2928938"/>
          <p14:tracePt t="73171" x="4800600" y="2924175"/>
          <p14:tracePt t="73183" x="4800600" y="2919413"/>
          <p14:tracePt t="73201" x="4800600" y="2876550"/>
          <p14:tracePt t="73216" x="4786313" y="2857500"/>
          <p14:tracePt t="73233" x="4752975" y="2833688"/>
          <p14:tracePt t="73250" x="4724400" y="2824163"/>
          <p14:tracePt t="73266" x="4705350" y="2819400"/>
          <p14:tracePt t="73282" x="4691063" y="2819400"/>
          <p14:tracePt t="73331" x="4686300" y="2819400"/>
          <p14:tracePt t="73338" x="4686300" y="2824163"/>
          <p14:tracePt t="73349" x="4686300" y="2828925"/>
          <p14:tracePt t="73366" x="4686300" y="2843213"/>
          <p14:tracePt t="73383" x="4686300" y="2847975"/>
          <p14:tracePt t="73400" x="4686300" y="2852738"/>
          <p14:tracePt t="73416" x="4686300" y="2857500"/>
          <p14:tracePt t="73603" x="4686300" y="2862263"/>
          <p14:tracePt t="73619" x="4691063" y="2862263"/>
          <p14:tracePt t="73626" x="4695825" y="2867025"/>
          <p14:tracePt t="73648" x="4700588" y="2867025"/>
          <p14:tracePt t="96987" x="4705350" y="2867025"/>
          <p14:tracePt t="96997" x="4719638" y="2867025"/>
          <p14:tracePt t="97006" x="4733925" y="2867025"/>
          <p14:tracePt t="97022" x="4776788" y="2867025"/>
          <p14:tracePt t="97041" x="4876800" y="2867025"/>
          <p14:tracePt t="97056" x="4948238" y="2871788"/>
          <p14:tracePt t="97073" x="5043488" y="2881313"/>
          <p14:tracePt t="97100" x="5148263" y="2886075"/>
          <p14:tracePt t="97105" x="5181600" y="2886075"/>
          <p14:tracePt t="97116" x="5210175" y="2886075"/>
          <p14:tracePt t="97133" x="5243513" y="2886075"/>
          <p14:tracePt t="97150" x="5262563" y="2886075"/>
          <p14:tracePt t="97166" x="5267325" y="2886075"/>
          <p14:tracePt t="97235" x="5272088" y="2886075"/>
          <p14:tracePt t="97343" x="5272088" y="2890838"/>
          <p14:tracePt t="97345" x="5276850" y="2895600"/>
          <p14:tracePt t="97363" x="5276850" y="2900363"/>
          <p14:tracePt t="97379" x="5276850" y="2909888"/>
          <p14:tracePt t="97388" x="5281613" y="2909888"/>
          <p14:tracePt t="97402" x="5281613" y="2914650"/>
          <p14:tracePt t="97500" x="5286375" y="2914650"/>
          <p14:tracePt t="97507" x="5291138" y="2914650"/>
          <p14:tracePt t="97516" x="5305425" y="2914650"/>
          <p14:tracePt t="97533" x="5329238" y="2919413"/>
          <p14:tracePt t="97549" x="5376863" y="2919413"/>
          <p14:tracePt t="97566" x="5443538" y="2919413"/>
          <p14:tracePt t="97583" x="5500688" y="2914650"/>
          <p14:tracePt t="97589" x="5514975" y="2909888"/>
          <p14:tracePt t="97600" x="5534025" y="2905125"/>
          <p14:tracePt t="97616" x="5557838" y="2886075"/>
          <p14:tracePt t="97633" x="5562600" y="2867025"/>
          <p14:tracePt t="97649" x="5562600" y="2843213"/>
          <p14:tracePt t="97666" x="5562600" y="2814638"/>
          <p14:tracePt t="97683" x="5562600" y="2790825"/>
          <p14:tracePt t="97700" x="5562600" y="2771775"/>
          <p14:tracePt t="97716" x="5562600" y="2757488"/>
          <p14:tracePt t="97733" x="5557838" y="2738438"/>
          <p14:tracePt t="97750" x="5553075" y="2724150"/>
          <p14:tracePt t="97766" x="5543550" y="2705100"/>
          <p14:tracePt t="97783" x="5524500" y="2686050"/>
          <p14:tracePt t="97801" x="5491163" y="2662238"/>
          <p14:tracePt t="97817" x="5472113" y="2647950"/>
          <p14:tracePt t="97833" x="5457825" y="2638425"/>
          <p14:tracePt t="97849" x="5443538" y="2628900"/>
          <p14:tracePt t="97866" x="5424488" y="2619375"/>
          <p14:tracePt t="97883" x="5395913" y="2609850"/>
          <p14:tracePt t="97900" x="5376863" y="2600325"/>
          <p14:tracePt t="97916" x="5357813" y="2595563"/>
          <p14:tracePt t="97933" x="5343525" y="2595563"/>
          <p14:tracePt t="97950" x="5324475" y="2595563"/>
          <p14:tracePt t="97966" x="5314950" y="2590800"/>
          <p14:tracePt t="97983" x="5295900" y="2590800"/>
          <p14:tracePt t="98001" x="5257800" y="2590800"/>
          <p14:tracePt t="98016" x="5243513" y="2590800"/>
          <p14:tracePt t="98033" x="5229225" y="2590800"/>
          <p14:tracePt t="98067" x="5224463" y="2590800"/>
          <p14:tracePt t="98085" x="5219700" y="2595563"/>
          <p14:tracePt t="98099" x="5214938" y="2605088"/>
          <p14:tracePt t="98116" x="5195888" y="2628900"/>
          <p14:tracePt t="98133" x="5176838" y="2652713"/>
          <p14:tracePt t="98150" x="5157788" y="2676525"/>
          <p14:tracePt t="98166" x="5143500" y="2695575"/>
          <p14:tracePt t="98183" x="5133975" y="2709863"/>
          <p14:tracePt t="98201" x="5129213" y="2747963"/>
          <p14:tracePt t="98217" x="5129213" y="2771775"/>
          <p14:tracePt t="98233" x="5129213" y="2805113"/>
          <p14:tracePt t="98249" x="5133975" y="2852738"/>
          <p14:tracePt t="98266" x="5143500" y="2895600"/>
          <p14:tracePt t="98283" x="5157788" y="2947988"/>
          <p14:tracePt t="98300" x="5167313" y="2981325"/>
          <p14:tracePt t="98317" x="5172075" y="3009900"/>
          <p14:tracePt t="98333" x="5181600" y="3028950"/>
          <p14:tracePt t="98350" x="5191125" y="3048000"/>
          <p14:tracePt t="98366" x="5205413" y="3062288"/>
          <p14:tracePt t="98383" x="5210175" y="3067050"/>
          <p14:tracePt t="98401" x="5219700" y="3071813"/>
          <p14:tracePt t="98416" x="5224463" y="3071813"/>
          <p14:tracePt t="98433" x="5238750" y="3071813"/>
          <p14:tracePt t="98450" x="5262563" y="3081338"/>
          <p14:tracePt t="98466" x="5281613" y="3081338"/>
          <p14:tracePt t="98483" x="5295900" y="3081338"/>
          <p14:tracePt t="98500" x="5319713" y="3081338"/>
          <p14:tracePt t="98516" x="5338763" y="3081338"/>
          <p14:tracePt t="98533" x="5343525" y="3081338"/>
          <p14:tracePt t="98550" x="5348288" y="3081338"/>
          <p14:tracePt t="98571" x="5348288" y="3076575"/>
          <p14:tracePt t="98583" x="5348288" y="3071813"/>
          <p14:tracePt t="98603" x="5348288" y="3067050"/>
          <p14:tracePt t="98634" x="5353050" y="3067050"/>
          <p14:tracePt t="98640" x="5353050" y="3062288"/>
          <p14:tracePt t="98721" x="5353050" y="3057525"/>
          <p14:tracePt t="98745" x="5357813" y="3052763"/>
          <p14:tracePt t="98778" x="5357813" y="3048000"/>
          <p14:tracePt t="98787" x="5362575" y="3048000"/>
          <p14:tracePt t="98828" x="5367338" y="3048000"/>
          <p14:tracePt t="98834" x="5367338" y="3043238"/>
          <p14:tracePt t="98867" x="5372100" y="3038475"/>
          <p14:tracePt t="98931" x="5372100" y="3033713"/>
          <p14:tracePt t="98939" x="5372100" y="3028950"/>
          <p14:tracePt t="98950" x="5381625" y="3024188"/>
          <p14:tracePt t="98967" x="5381625" y="3009900"/>
          <p14:tracePt t="98983" x="5391150" y="2995613"/>
          <p14:tracePt t="99000" x="5391150" y="2981325"/>
          <p14:tracePt t="99016" x="5395913" y="2967038"/>
          <p14:tracePt t="99032" x="5395913" y="2952750"/>
          <p14:tracePt t="99050" x="5400675" y="2943225"/>
          <p14:tracePt t="99066" x="5400675" y="2933700"/>
          <p14:tracePt t="99082" x="5400675" y="2919413"/>
          <p14:tracePt t="99099" x="5400675" y="2909888"/>
          <p14:tracePt t="99116" x="5400675" y="2895600"/>
          <p14:tracePt t="99132" x="5400675" y="2876550"/>
          <p14:tracePt t="99150" x="5400675" y="2862263"/>
          <p14:tracePt t="99166" x="5400675" y="2857500"/>
          <p14:tracePt t="99183" x="5400675" y="2852738"/>
          <p14:tracePt t="99201" x="5400675" y="2843213"/>
          <p14:tracePt t="99216" x="5400675" y="2833688"/>
          <p14:tracePt t="99233" x="5400675" y="2828925"/>
          <p14:tracePt t="99249" x="5400675" y="2824163"/>
          <p14:tracePt t="99266" x="5400675" y="2819400"/>
          <p14:tracePt t="99282" x="5400675" y="2809875"/>
          <p14:tracePt t="99299" x="5400675" y="2805113"/>
          <p14:tracePt t="99316" x="5400675" y="2795588"/>
          <p14:tracePt t="99333" x="5400675" y="2790825"/>
          <p14:tracePt t="99350" x="5400675" y="2786063"/>
          <p14:tracePt t="99366" x="5400675" y="2781300"/>
          <p14:tracePt t="99383" x="5400675" y="2776538"/>
          <p14:tracePt t="99756" x="5400675" y="2771775"/>
          <p14:tracePt t="99765" x="5400675" y="2762250"/>
          <p14:tracePt t="99772" x="5400675" y="2752725"/>
          <p14:tracePt t="99786" x="5400675" y="2738438"/>
          <p14:tracePt t="99804" x="5400675" y="2719388"/>
          <p14:tracePt t="99820" x="5400675" y="2705100"/>
          <p14:tracePt t="99836" x="5400675" y="2686050"/>
          <p14:tracePt t="99866" x="5391150" y="2667000"/>
          <p14:tracePt t="99883" x="5391150" y="2662238"/>
          <p14:tracePt t="99900" x="5386388" y="2662238"/>
          <p14:tracePt t="99916" x="5381625" y="2662238"/>
          <p14:tracePt t="99963" x="5376863" y="2662238"/>
          <p14:tracePt t="99979" x="5372100" y="2662238"/>
          <p14:tracePt t="99995" x="5367338" y="2662238"/>
          <p14:tracePt t="100003" x="5362575" y="2662238"/>
          <p14:tracePt t="100017" x="5348288" y="2667000"/>
          <p14:tracePt t="100033" x="5329238" y="2676525"/>
          <p14:tracePt t="100050" x="5319713" y="2676525"/>
          <p14:tracePt t="100066" x="5300663" y="2681288"/>
          <p14:tracePt t="100083" x="5291138" y="2681288"/>
          <p14:tracePt t="100089" x="5286375" y="2681288"/>
          <p14:tracePt t="100099" x="5281613" y="2686050"/>
          <p14:tracePt t="100116" x="5276850" y="2686050"/>
          <p14:tracePt t="100133" x="5267325" y="2686050"/>
          <p14:tracePt t="100149" x="5257800" y="2686050"/>
          <p14:tracePt t="100166" x="5253038" y="2686050"/>
          <p14:tracePt t="100183" x="5243513" y="2686050"/>
          <p14:tracePt t="100201" x="5229225" y="2686050"/>
          <p14:tracePt t="100216" x="5224463" y="2686050"/>
          <p14:tracePt t="100249" x="5214938" y="2700338"/>
          <p14:tracePt t="100266" x="5210175" y="2719388"/>
          <p14:tracePt t="100283" x="5210175" y="2752725"/>
          <p14:tracePt t="100299" x="5210175" y="2790825"/>
          <p14:tracePt t="100317" x="5210175" y="2824163"/>
          <p14:tracePt t="100333" x="5210175" y="2847975"/>
          <p14:tracePt t="100349" x="5214938" y="2871788"/>
          <p14:tracePt t="100366" x="5224463" y="2886075"/>
          <p14:tracePt t="100384" x="5233988" y="2900363"/>
          <p14:tracePt t="100401" x="5257800" y="2919413"/>
          <p14:tracePt t="100416" x="5276850" y="2933700"/>
          <p14:tracePt t="100433" x="5295900" y="2938463"/>
          <p14:tracePt t="100449" x="5305425" y="2943225"/>
          <p14:tracePt t="100466" x="5314950" y="2947988"/>
          <p14:tracePt t="100483" x="5319713" y="2947988"/>
          <p14:tracePt t="100500" x="5329238" y="2947988"/>
          <p14:tracePt t="100533" x="5334000" y="2947988"/>
          <p14:tracePt t="100550" x="5343525" y="2947988"/>
          <p14:tracePt t="100567" x="5362575" y="2947988"/>
          <p14:tracePt t="100583" x="5381625" y="2947988"/>
          <p14:tracePt t="100589" x="5391150" y="2947988"/>
          <p14:tracePt t="100599" x="5395913" y="2947988"/>
          <p14:tracePt t="100616" x="5410200" y="2947988"/>
          <p14:tracePt t="100633" x="5414963" y="2947988"/>
          <p14:tracePt t="100666" x="5424488" y="2947988"/>
          <p14:tracePt t="100683" x="5434013" y="2933700"/>
          <p14:tracePt t="100699" x="5453063" y="2909888"/>
          <p14:tracePt t="100716" x="5467350" y="2876550"/>
          <p14:tracePt t="100733" x="5481638" y="2833688"/>
          <p14:tracePt t="100750" x="5481638" y="2805113"/>
          <p14:tracePt t="100767" x="5486400" y="2781300"/>
          <p14:tracePt t="100783" x="5491163" y="2752725"/>
          <p14:tracePt t="100800" x="5491163" y="2719388"/>
          <p14:tracePt t="100816" x="5491163" y="2709863"/>
          <p14:tracePt t="100833" x="5491163" y="2690813"/>
          <p14:tracePt t="100850" x="5486400" y="2681288"/>
          <p14:tracePt t="100867" x="5486400" y="2676525"/>
          <p14:tracePt t="100883" x="5481638" y="2667000"/>
          <p14:tracePt t="100900" x="5472113" y="2662238"/>
          <p14:tracePt t="100916" x="5457825" y="2652713"/>
          <p14:tracePt t="100933" x="5448300" y="2643188"/>
          <p14:tracePt t="100949" x="5434013" y="2633663"/>
          <p14:tracePt t="100966" x="5429250" y="2624138"/>
          <p14:tracePt t="100983" x="5419725" y="2624138"/>
          <p14:tracePt t="101001" x="5414963" y="2619375"/>
          <p14:tracePt t="101084" x="5410200" y="2619375"/>
          <p14:tracePt t="101115" x="5405438" y="2619375"/>
          <p14:tracePt t="101123" x="5400675" y="2619375"/>
          <p14:tracePt t="101139" x="5391150" y="2619375"/>
          <p14:tracePt t="101150" x="5386388" y="2619375"/>
          <p14:tracePt t="101167" x="5381625" y="2619375"/>
          <p14:tracePt t="101184" x="5376863" y="2619375"/>
          <p14:tracePt t="101265" x="5372100" y="2619375"/>
          <p14:tracePt t="101364" x="5367338" y="2619375"/>
          <p14:tracePt t="101388" x="5362575" y="2619375"/>
          <p14:tracePt t="101396" x="5362575" y="2624138"/>
          <p14:tracePt t="101404" x="5357813" y="2624138"/>
          <p14:tracePt t="101418" x="5357813" y="2628900"/>
          <p14:tracePt t="101433" x="5353050" y="2633663"/>
          <p14:tracePt t="101449" x="5348288" y="2633663"/>
          <p14:tracePt t="101467" x="5343525" y="2638425"/>
          <p14:tracePt t="101483" x="5338763" y="2643188"/>
          <p14:tracePt t="101501" x="5338763" y="2647950"/>
          <p14:tracePt t="101563" x="5338763" y="2652713"/>
          <p14:tracePt t="101595" x="5334000" y="2657475"/>
          <p14:tracePt t="101626" x="5334000" y="2662238"/>
          <p14:tracePt t="101634" x="5334000" y="2667000"/>
          <p14:tracePt t="101649" x="5334000" y="2671763"/>
          <p14:tracePt t="101666" x="5334000" y="2681288"/>
          <p14:tracePt t="101682" x="5329238" y="2681288"/>
          <p14:tracePt t="101699" x="5329238" y="2686050"/>
          <p14:tracePt t="101716" x="5329238" y="2690813"/>
          <p14:tracePt t="101749" x="5329238" y="2695575"/>
          <p14:tracePt t="101796" x="5329238" y="2700338"/>
          <p14:tracePt t="101811" x="5329238" y="2705100"/>
          <p14:tracePt t="101827" x="5329238" y="2709863"/>
          <p14:tracePt t="101842" x="5329238" y="2714625"/>
          <p14:tracePt t="101858" x="5329238" y="2719388"/>
          <p14:tracePt t="101866" x="5329238" y="2724150"/>
          <p14:tracePt t="101883" x="5329238" y="2728913"/>
          <p14:tracePt t="101906" x="5329238" y="2733675"/>
          <p14:tracePt t="101920" x="5329238" y="2738438"/>
          <p14:tracePt t="101936" x="5329238" y="2743200"/>
          <p14:tracePt t="101961" x="5329238" y="2747963"/>
          <p14:tracePt t="101987" x="5329238" y="2752725"/>
          <p14:tracePt t="102019" x="5329238" y="2757488"/>
          <p14:tracePt t="102036" x="5329238" y="2762250"/>
          <p14:tracePt t="102069" x="5329238" y="2767013"/>
          <p14:tracePt t="102075" x="5334000" y="2767013"/>
          <p14:tracePt t="102139" x="5334000" y="2771775"/>
          <p14:tracePt t="102179" x="5334000" y="2776538"/>
          <p14:tracePt t="102195" x="5338763" y="2781300"/>
          <p14:tracePt t="102324" x="5338763" y="2786063"/>
          <p14:tracePt t="102364" x="5338763" y="2790825"/>
          <p14:tracePt t="102380" x="5343525" y="2795588"/>
          <p14:tracePt t="102388" x="5343525" y="2800350"/>
          <p14:tracePt t="102401" x="5348288" y="2805113"/>
          <p14:tracePt t="102416" x="5353050" y="2809875"/>
          <p14:tracePt t="102434" x="5357813" y="2819400"/>
          <p14:tracePt t="102470" x="5362575" y="2824163"/>
          <p14:tracePt t="102483" x="5367338" y="2824163"/>
          <p14:tracePt t="102500" x="5372100" y="2824163"/>
          <p14:tracePt t="102516" x="5376863" y="2824163"/>
          <p14:tracePt t="102533" x="5391150" y="2824163"/>
          <p14:tracePt t="102550" x="5405438" y="2824163"/>
          <p14:tracePt t="102566" x="5434013" y="2819400"/>
          <p14:tracePt t="102583" x="5453063" y="2805113"/>
          <p14:tracePt t="102601" x="5472113" y="2790825"/>
          <p14:tracePt t="102616" x="5481638" y="2776538"/>
          <p14:tracePt t="102632" x="5495925" y="2757488"/>
          <p14:tracePt t="102649" x="5505450" y="2743200"/>
          <p14:tracePt t="102666" x="5510213" y="2719388"/>
          <p14:tracePt t="102682" x="5514975" y="2705100"/>
          <p14:tracePt t="102699" x="5519738" y="2681288"/>
          <p14:tracePt t="102716" x="5519738" y="2667000"/>
          <p14:tracePt t="102732" x="5519738" y="2647950"/>
          <p14:tracePt t="102750" x="5519738" y="2624138"/>
          <p14:tracePt t="102766" x="5519738" y="2605088"/>
          <p14:tracePt t="102783" x="5519738" y="2576513"/>
          <p14:tracePt t="102801" x="5519738" y="2547938"/>
          <p14:tracePt t="102816" x="5519738" y="2533650"/>
          <p14:tracePt t="102833" x="5519738" y="2524125"/>
          <p14:tracePt t="102850" x="5514975" y="2509838"/>
          <p14:tracePt t="102867" x="5514975" y="2500313"/>
          <p14:tracePt t="102883" x="5510213" y="2495550"/>
          <p14:tracePt t="102900" x="5505450" y="2486025"/>
          <p14:tracePt t="102933" x="5500688" y="2486025"/>
          <p14:tracePt t="103043" x="5495925" y="2486025"/>
          <p14:tracePt t="103073" x="5491163" y="2486025"/>
          <p14:tracePt t="103084" x="5486400" y="2486025"/>
          <p14:tracePt t="103117" x="5481638" y="2486025"/>
          <p14:tracePt t="103139" x="5476875" y="2486025"/>
          <p14:tracePt t="103163" x="5472113" y="2486025"/>
          <p14:tracePt t="103172" x="5467350" y="2490788"/>
          <p14:tracePt t="103187" x="5462588" y="2495550"/>
          <p14:tracePt t="103203" x="5457825" y="2495550"/>
          <p14:tracePt t="103219" x="5457825" y="2500313"/>
          <p14:tracePt t="103236" x="5453063" y="2500313"/>
          <p14:tracePt t="103251" x="5448300" y="2505075"/>
          <p14:tracePt t="103266" x="5448300" y="2509838"/>
          <p14:tracePt t="103282" x="5438775" y="2524125"/>
          <p14:tracePt t="103299" x="5434013" y="2538413"/>
          <p14:tracePt t="103316" x="5429250" y="2547938"/>
          <p14:tracePt t="103333" x="5424488" y="2562225"/>
          <p14:tracePt t="103350" x="5424488" y="2576513"/>
          <p14:tracePt t="103366" x="5424488" y="2595563"/>
          <p14:tracePt t="103383" x="5424488" y="2605088"/>
          <p14:tracePt t="103400" x="5419725" y="2628900"/>
          <p14:tracePt t="103416" x="5414963" y="2643188"/>
          <p14:tracePt t="103433" x="5414963" y="2652713"/>
          <p14:tracePt t="103450" x="5414963" y="2667000"/>
          <p14:tracePt t="103466" x="5414963" y="2671763"/>
          <p14:tracePt t="103483" x="5414963" y="2676525"/>
          <p14:tracePt t="103500" x="5414963" y="2686050"/>
          <p14:tracePt t="103516" x="5414963" y="2695575"/>
          <p14:tracePt t="103533" x="5414963" y="2700338"/>
          <p14:tracePt t="103550" x="5414963" y="2705100"/>
          <p14:tracePt t="103566" x="5414963" y="2709863"/>
          <p14:tracePt t="111180" x="5410200" y="2709863"/>
          <p14:tracePt t="111187" x="5400675" y="2709863"/>
          <p14:tracePt t="111196" x="5386388" y="2709863"/>
          <p14:tracePt t="111209" x="5372100" y="2714625"/>
          <p14:tracePt t="111224" x="5357813" y="2714625"/>
          <p14:tracePt t="111241" x="5348288" y="2714625"/>
          <p14:tracePt t="111257" x="5338763" y="2714625"/>
          <p14:tracePt t="111306" x="5334000" y="2714625"/>
          <p14:tracePt t="111324" x="5329238" y="2714625"/>
          <p14:tracePt t="111333" x="5324475" y="2714625"/>
          <p14:tracePt t="111350" x="5305425" y="2714625"/>
          <p14:tracePt t="111366" x="5286375" y="2719388"/>
          <p14:tracePt t="111383" x="5276850" y="2719388"/>
          <p14:tracePt t="111563" x="5281613" y="2719388"/>
          <p14:tracePt t="111571" x="5286375" y="2719388"/>
          <p14:tracePt t="111583" x="5291138" y="2719388"/>
          <p14:tracePt t="111601" x="5295900" y="2719388"/>
          <p14:tracePt t="111617" x="5300663" y="2719388"/>
          <p14:tracePt t="111632" x="5305425" y="2719388"/>
          <p14:tracePt t="111681" x="5310188" y="2719388"/>
          <p14:tracePt t="111714" x="5314950" y="2719388"/>
          <p14:tracePt t="111757" x="5319713" y="2719388"/>
          <p14:tracePt t="111947" x="5314950" y="2719388"/>
          <p14:tracePt t="111964" x="5310188" y="2719388"/>
          <p14:tracePt t="111972" x="5305425" y="2719388"/>
          <p14:tracePt t="111979" x="5295900" y="2719388"/>
          <p14:tracePt t="111990" x="5286375" y="2719388"/>
          <p14:tracePt t="112006" x="5267325" y="2719388"/>
          <p14:tracePt t="112033" x="5257800" y="2719388"/>
          <p14:tracePt t="122907" x="5257800" y="2724150"/>
          <p14:tracePt t="122923" x="5257800" y="2733675"/>
          <p14:tracePt t="122932" x="5262563" y="2733675"/>
          <p14:tracePt t="122946" x="5272088" y="2743200"/>
          <p14:tracePt t="122962" x="5276850" y="2747963"/>
          <p14:tracePt t="122978" x="5276850" y="2752725"/>
          <p14:tracePt t="123016" x="5286375" y="2752725"/>
          <p14:tracePt t="123033" x="5291138" y="2752725"/>
          <p14:tracePt t="123049" x="5300663" y="2757488"/>
          <p14:tracePt t="123066" x="5305425" y="2757488"/>
          <p14:tracePt t="123083" x="5310188" y="2757488"/>
          <p14:tracePt t="123116" x="5314950" y="2757488"/>
          <p14:tracePt t="123133" x="5319713" y="2757488"/>
          <p14:tracePt t="123197" x="5324475" y="2757488"/>
          <p14:tracePt t="123219" x="5329238" y="2757488"/>
          <p14:tracePt t="123227" x="5338763" y="2757488"/>
          <p14:tracePt t="123235" x="5343525" y="2757488"/>
          <p14:tracePt t="123249" x="5357813" y="2757488"/>
          <p14:tracePt t="123266" x="5362575" y="2757488"/>
          <p14:tracePt t="123282" x="5372100" y="2757488"/>
          <p14:tracePt t="123299" x="5376863" y="2757488"/>
          <p14:tracePt t="123316" x="5376863" y="2752725"/>
          <p14:tracePt t="123349" x="5381625" y="2747963"/>
          <p14:tracePt t="123366" x="5381625" y="2743200"/>
          <p14:tracePt t="123383" x="5391150" y="2728913"/>
          <p14:tracePt t="123401" x="5400675" y="2709863"/>
          <p14:tracePt t="123433" x="5400675" y="2705100"/>
          <p14:tracePt t="123707" x="5400675" y="2700338"/>
          <p14:tracePt t="123723" x="5400675" y="2695575"/>
          <p14:tracePt t="123732" x="5400675" y="2690813"/>
          <p14:tracePt t="123745" x="5400675" y="2676525"/>
          <p14:tracePt t="123762" x="5400675" y="2647950"/>
          <p14:tracePt t="123778" x="5400675" y="2605088"/>
          <p14:tracePt t="123794" x="5395913" y="2538413"/>
          <p14:tracePt t="123833" x="5372100" y="2395538"/>
          <p14:tracePt t="123849" x="5353050" y="2319338"/>
          <p14:tracePt t="123866" x="5334000" y="2262188"/>
          <p14:tracePt t="123883" x="5319713" y="2228850"/>
          <p14:tracePt t="123900" x="5314950" y="2214563"/>
          <p14:tracePt t="123916" x="5310188" y="2205038"/>
          <p14:tracePt t="123933" x="5310188" y="2200275"/>
          <p14:tracePt t="123949" x="5305425" y="2200275"/>
          <p14:tracePt t="124369" x="5305425" y="2205038"/>
          <p14:tracePt t="124378" x="5305425" y="2209800"/>
          <p14:tracePt t="124387" x="5305425" y="2224088"/>
          <p14:tracePt t="124401" x="5305425" y="2247900"/>
          <p14:tracePt t="124416" x="5305425" y="2276475"/>
          <p14:tracePt t="124433" x="5305425" y="2305050"/>
          <p14:tracePt t="124450" x="5310188" y="2333625"/>
          <p14:tracePt t="124466" x="5314950" y="2357438"/>
          <p14:tracePt t="124483" x="5319713" y="2381250"/>
          <p14:tracePt t="124500" x="5324475" y="2414588"/>
          <p14:tracePt t="124516" x="5329238" y="2457450"/>
          <p14:tracePt t="124533" x="5334000" y="2524125"/>
          <p14:tracePt t="124550" x="5334000" y="2586038"/>
          <p14:tracePt t="124566" x="5334000" y="2619375"/>
          <p14:tracePt t="124583" x="5334000" y="2638425"/>
          <p14:tracePt t="124600" x="5334000" y="2647950"/>
          <p14:tracePt t="124634" x="5334000" y="2652713"/>
          <p14:tracePt t="124740" x="5334000" y="2657475"/>
          <p14:tracePt t="124763" x="5334000" y="2662238"/>
          <p14:tracePt t="124772" x="5334000" y="2667000"/>
          <p14:tracePt t="124783" x="5334000" y="2671763"/>
          <p14:tracePt t="124800" x="5334000" y="2676525"/>
          <p14:tracePt t="126163" x="5329238" y="2681288"/>
          <p14:tracePt t="126195" x="5329238" y="2686050"/>
          <p14:tracePt t="126236" x="5329238" y="2690813"/>
          <p14:tracePt t="126281" x="5324475" y="2690813"/>
          <p14:tracePt t="126297" x="5319713" y="2690813"/>
          <p14:tracePt t="126315" x="5314950" y="2690813"/>
          <p14:tracePt t="126330" x="5305425" y="2695575"/>
          <p14:tracePt t="126337" x="5295900" y="2695575"/>
          <p14:tracePt t="126350" x="5291138" y="2700338"/>
          <p14:tracePt t="126366" x="5276850" y="2700338"/>
          <p14:tracePt t="126383" x="5267325" y="2705100"/>
          <p14:tracePt t="126400" x="5267325" y="2709863"/>
          <p14:tracePt t="126416" x="5262563" y="2709863"/>
          <p14:tracePt t="129021" x="5262563" y="2714625"/>
          <p14:tracePt t="129763" x="5262563" y="2719388"/>
          <p14:tracePt t="129795" x="5262563" y="2724150"/>
          <p14:tracePt t="129803" x="5262563" y="2728913"/>
          <p14:tracePt t="129828" x="5262563" y="2733675"/>
          <p14:tracePt t="129843" x="5262563" y="2738438"/>
          <p14:tracePt t="129858" x="5262563" y="2743200"/>
          <p14:tracePt t="129882" x="5262563" y="2747963"/>
          <p14:tracePt t="129930" x="5262563" y="2752725"/>
          <p14:tracePt t="129962" x="5267325" y="2757488"/>
          <p14:tracePt t="129978" x="5272088" y="2757488"/>
          <p14:tracePt t="129985" x="5276850" y="2767013"/>
          <p14:tracePt t="130000" x="5295900" y="2776538"/>
          <p14:tracePt t="130016" x="5314950" y="2781300"/>
          <p14:tracePt t="130033" x="5329238" y="2781300"/>
          <p14:tracePt t="130050" x="5343525" y="2786063"/>
          <p14:tracePt t="130123" x="5348288" y="2786063"/>
          <p14:tracePt t="130140" x="5353050" y="2786063"/>
          <p14:tracePt t="130147" x="5353050" y="2781300"/>
          <p14:tracePt t="130155" x="5357813" y="2776538"/>
          <p14:tracePt t="130166" x="5362575" y="2771775"/>
          <p14:tracePt t="130183" x="5367338" y="2767013"/>
          <p14:tracePt t="130200" x="5372100" y="2752725"/>
          <p14:tracePt t="130215" x="5372100" y="2743200"/>
          <p14:tracePt t="130232" x="5372100" y="2738438"/>
          <p14:tracePt t="130249" x="5372100" y="2728913"/>
          <p14:tracePt t="130265" x="5372100" y="2724150"/>
          <p14:tracePt t="130282" x="5372100" y="2719388"/>
          <p14:tracePt t="130299" x="5372100" y="2714625"/>
          <p14:tracePt t="130315" x="5372100" y="2709863"/>
          <p14:tracePt t="130332" x="5372100" y="2705100"/>
          <p14:tracePt t="130388" x="5372100" y="2700338"/>
          <p14:tracePt t="130411" x="5372100" y="2695575"/>
          <p14:tracePt t="130419" x="5372100" y="2690813"/>
          <p14:tracePt t="130433" x="5367338" y="2690813"/>
          <p14:tracePt t="130450" x="5362575" y="2686050"/>
          <p14:tracePt t="130466" x="5357813" y="2681288"/>
          <p14:tracePt t="130483" x="5353050" y="2681288"/>
          <p14:tracePt t="130499" x="5353050" y="2676525"/>
          <p14:tracePt t="130517" x="5348288" y="2671763"/>
          <p14:tracePt t="130533" x="5343525" y="2671763"/>
          <p14:tracePt t="130566" x="5338763" y="2671763"/>
          <p14:tracePt t="130604" x="5334000" y="2671763"/>
          <p14:tracePt t="130619" x="5329238" y="2671763"/>
          <p14:tracePt t="130626" x="5324475" y="2671763"/>
          <p14:tracePt t="130634" x="5319713" y="2671763"/>
          <p14:tracePt t="130649" x="5310188" y="2671763"/>
          <p14:tracePt t="130666" x="5300663" y="2671763"/>
          <p14:tracePt t="130682" x="5291138" y="2671763"/>
          <p14:tracePt t="130699" x="5281613" y="2671763"/>
          <p14:tracePt t="130716" x="5272088" y="2671763"/>
          <p14:tracePt t="130732" x="5262563" y="2671763"/>
          <p14:tracePt t="130750" x="5257800" y="2671763"/>
          <p14:tracePt t="130766" x="5253038" y="2671763"/>
          <p14:tracePt t="130782" x="5248275" y="2671763"/>
          <p14:tracePt t="130800" x="5243513" y="2671763"/>
          <p14:tracePt t="130816" x="5238750" y="2671763"/>
          <p14:tracePt t="130832" x="5233988" y="2676525"/>
          <p14:tracePt t="130849" x="5229225" y="2686050"/>
          <p14:tracePt t="130866" x="5229225" y="2695575"/>
          <p14:tracePt t="130883" x="5219700" y="2709863"/>
          <p14:tracePt t="130900" x="5214938" y="2733675"/>
          <p14:tracePt t="130916" x="5214938" y="2743200"/>
          <p14:tracePt t="130933" x="5214938" y="2757488"/>
          <p14:tracePt t="130949" x="5214938" y="2762250"/>
          <p14:tracePt t="130966" x="5214938" y="2767013"/>
          <p14:tracePt t="130983" x="5214938" y="2771775"/>
          <p14:tracePt t="131000" x="5214938" y="2776538"/>
          <p14:tracePt t="131017" x="5219700" y="2776538"/>
          <p14:tracePt t="131033" x="5224463" y="2781300"/>
          <p14:tracePt t="131049" x="5238750" y="2781300"/>
          <p14:tracePt t="131066" x="5253038" y="2786063"/>
          <p14:tracePt t="131083" x="5267325" y="2790825"/>
          <p14:tracePt t="131099" x="5276850" y="2790825"/>
          <p14:tracePt t="131129" x="5281613" y="2790825"/>
          <p14:tracePt t="131153" x="5281613" y="2786063"/>
          <p14:tracePt t="131173" x="5281613" y="2776538"/>
          <p14:tracePt t="131179" x="5281613" y="2771775"/>
          <p14:tracePt t="131185" x="5281613" y="2767013"/>
          <p14:tracePt t="131201" x="5281613" y="2757488"/>
          <p14:tracePt t="131233" x="5281613" y="2752725"/>
          <p14:tracePt t="131380" x="5276850" y="2752725"/>
          <p14:tracePt t="132923" x="5281613" y="2752725"/>
          <p14:tracePt t="132932" x="5291138" y="2752725"/>
          <p14:tracePt t="132941" x="5305425" y="2752725"/>
          <p14:tracePt t="132951" x="5324475" y="2752725"/>
          <p14:tracePt t="132968" x="5395913" y="2752725"/>
          <p14:tracePt t="132985" x="5434013" y="2752725"/>
          <p14:tracePt t="133016" x="5472113" y="2752725"/>
          <p14:tracePt t="133033" x="5476875" y="2752725"/>
          <p14:tracePt t="133083" x="5481638" y="2752725"/>
          <p14:tracePt t="133115" x="5486400" y="2752725"/>
          <p14:tracePt t="133131" x="5491163" y="2752725"/>
          <p14:tracePt t="133147" x="5495925" y="2752725"/>
          <p14:tracePt t="133163" x="5500688" y="2752725"/>
          <p14:tracePt t="133170" x="5505450" y="2752725"/>
          <p14:tracePt t="133183" x="5510213" y="2752725"/>
          <p14:tracePt t="133201" x="5524500" y="2752725"/>
          <p14:tracePt t="133265" x="5529263" y="2752725"/>
          <p14:tracePt t="133291" x="5529263" y="2747963"/>
          <p14:tracePt t="133340" x="5534025" y="2747963"/>
          <p14:tracePt t="133347" x="5538788" y="2747963"/>
          <p14:tracePt t="133484" x="5543550" y="2747963"/>
          <p14:tracePt t="133523" x="5548313" y="2747963"/>
          <p14:tracePt t="133548" x="5557838" y="2747963"/>
          <p14:tracePt t="133556" x="5567363" y="2747963"/>
          <p14:tracePt t="133566" x="5572125" y="2747963"/>
          <p14:tracePt t="133582" x="5586413" y="2747963"/>
          <p14:tracePt t="133600" x="5610225" y="2747963"/>
          <p14:tracePt t="133616" x="5629275" y="2747963"/>
          <p14:tracePt t="133632" x="5653088" y="2747963"/>
          <p14:tracePt t="133650" x="5676900" y="2747963"/>
          <p14:tracePt t="133667" x="5700713" y="2747963"/>
          <p14:tracePt t="133683" x="5724525" y="2743200"/>
          <p14:tracePt t="133700" x="5743575" y="2743200"/>
          <p14:tracePt t="133716" x="5757863" y="2743200"/>
          <p14:tracePt t="133733" x="5772150" y="2738438"/>
          <p14:tracePt t="133750" x="5776913" y="2738438"/>
          <p14:tracePt t="133766" x="5781675" y="2738438"/>
          <p14:tracePt t="133939" x="5791200" y="2738438"/>
          <p14:tracePt t="133955" x="5795963" y="2738438"/>
          <p14:tracePt t="133965" x="5800725" y="2738438"/>
          <p14:tracePt t="133973" x="5810250" y="2738438"/>
          <p14:tracePt t="133982" x="5819775" y="2738438"/>
          <p14:tracePt t="134000" x="5824538" y="2738438"/>
          <p14:tracePt t="134017" x="5829300" y="2738438"/>
          <p14:tracePt t="134043" x="5834063" y="2738438"/>
          <p14:tracePt t="134154" x="5838825" y="2738438"/>
          <p14:tracePt t="134186" x="5843588" y="2738438"/>
          <p14:tracePt t="134203" x="5848350" y="2738438"/>
          <p14:tracePt t="134219" x="5853113" y="2738438"/>
          <p14:tracePt t="134227" x="5857875" y="2738438"/>
          <p14:tracePt t="134243" x="5862638" y="2738438"/>
          <p14:tracePt t="134258" x="5867400" y="2738438"/>
          <p14:tracePt t="134280" x="5872163" y="2738438"/>
          <p14:tracePt t="135052" x="5867400" y="2738438"/>
          <p14:tracePt t="135060" x="5857875" y="2738438"/>
          <p14:tracePt t="135067" x="5848350" y="2738438"/>
          <p14:tracePt t="135083" x="5829300" y="2738438"/>
          <p14:tracePt t="135099" x="5810250" y="2738438"/>
          <p14:tracePt t="135115" x="5800725" y="2738438"/>
          <p14:tracePt t="135149" x="5767388" y="2738438"/>
          <p14:tracePt t="135182" x="5734050" y="2738438"/>
          <p14:tracePt t="135199" x="5724525" y="2738438"/>
          <p14:tracePt t="135216" x="5705475" y="2738438"/>
          <p14:tracePt t="135232" x="5691188" y="2738438"/>
          <p14:tracePt t="135249" x="5667375" y="2733675"/>
          <p14:tracePt t="135266" x="5643563" y="2733675"/>
          <p14:tracePt t="135282" x="5614988" y="2733675"/>
          <p14:tracePt t="135299" x="5581650" y="2728913"/>
          <p14:tracePt t="135316" x="5543550" y="2724150"/>
          <p14:tracePt t="135333" x="5505450" y="2724150"/>
          <p14:tracePt t="135350" x="5462588" y="2724150"/>
          <p14:tracePt t="135366" x="5424488" y="2724150"/>
          <p14:tracePt t="135383" x="5391150" y="2719388"/>
          <p14:tracePt t="135401" x="5367338" y="2719388"/>
          <p14:tracePt t="135416" x="5362575" y="2719388"/>
          <p14:tracePt t="135433" x="5357813" y="2719388"/>
          <p14:tracePt t="135450" x="5353050" y="2719388"/>
          <p14:tracePt t="135466" x="5348288" y="2719388"/>
          <p14:tracePt t="135483" x="5343525" y="2719388"/>
          <p14:tracePt t="135500" x="5329238" y="2719388"/>
          <p14:tracePt t="135516" x="5319713" y="2719388"/>
          <p14:tracePt t="135533" x="5310188" y="2719388"/>
          <p14:tracePt t="135550" x="5300663" y="2719388"/>
          <p14:tracePt t="135566" x="5291138" y="2719388"/>
          <p14:tracePt t="135605" x="5286375" y="2719388"/>
          <p14:tracePt t="135788" x="5291138" y="2719388"/>
          <p14:tracePt t="135795" x="5295900" y="2719388"/>
          <p14:tracePt t="135803" x="5300663" y="2719388"/>
          <p14:tracePt t="135817" x="5305425" y="2719388"/>
          <p14:tracePt t="135833" x="5324475" y="2719388"/>
          <p14:tracePt t="135850" x="5348288" y="2719388"/>
          <p14:tracePt t="135866" x="5367338" y="2719388"/>
          <p14:tracePt t="135883" x="5386388" y="2719388"/>
          <p14:tracePt t="135899" x="5410200" y="2719388"/>
          <p14:tracePt t="135916" x="5429250" y="2719388"/>
          <p14:tracePt t="135933" x="5453063" y="2719388"/>
          <p14:tracePt t="135950" x="5472113" y="2719388"/>
          <p14:tracePt t="135966" x="5495925" y="2719388"/>
          <p14:tracePt t="135983" x="5514975" y="2719388"/>
          <p14:tracePt t="136001" x="5534025" y="2719388"/>
          <p14:tracePt t="136017" x="5553075" y="2719388"/>
          <p14:tracePt t="136033" x="5576888" y="2719388"/>
          <p14:tracePt t="136049" x="5600700" y="2719388"/>
          <p14:tracePt t="136066" x="5629275" y="2719388"/>
          <p14:tracePt t="136083" x="5657850" y="2719388"/>
          <p14:tracePt t="136099" x="5691188" y="2719388"/>
          <p14:tracePt t="136116" x="5715000" y="2719388"/>
          <p14:tracePt t="136132" x="5743575" y="2719388"/>
          <p14:tracePt t="136149" x="5767388" y="2719388"/>
          <p14:tracePt t="136166" x="5791200" y="2719388"/>
          <p14:tracePt t="136183" x="5810250" y="2719388"/>
          <p14:tracePt t="136201" x="5834063" y="2719388"/>
          <p14:tracePt t="136216" x="5848350" y="2719388"/>
          <p14:tracePt t="136233" x="5867400" y="2714625"/>
          <p14:tracePt t="136250" x="5891213" y="2714625"/>
          <p14:tracePt t="136266" x="5910263" y="2709863"/>
          <p14:tracePt t="136282" x="5924550" y="2709863"/>
          <p14:tracePt t="136299" x="5929313" y="2709863"/>
          <p14:tracePt t="136316" x="5948363" y="2709863"/>
          <p14:tracePt t="136333" x="5957888" y="2709863"/>
          <p14:tracePt t="136349" x="5981700" y="2709863"/>
          <p14:tracePt t="136366" x="5995988" y="2709863"/>
          <p14:tracePt t="136383" x="6010275" y="2709863"/>
          <p14:tracePt t="136401" x="6048375" y="2709863"/>
          <p14:tracePt t="136417" x="6067425" y="2709863"/>
          <p14:tracePt t="136433" x="6091238" y="2709863"/>
          <p14:tracePt t="136450" x="6110288" y="2709863"/>
          <p14:tracePt t="136466" x="6129338" y="2709863"/>
          <p14:tracePt t="136483" x="6134100" y="2709863"/>
          <p14:tracePt t="136708" x="6143625" y="2709863"/>
          <p14:tracePt t="136716" x="6157913" y="2709863"/>
          <p14:tracePt t="136723" x="6172200" y="2709863"/>
          <p14:tracePt t="136733" x="6191250" y="2709863"/>
          <p14:tracePt t="136749" x="6234113" y="2709863"/>
          <p14:tracePt t="136766" x="6296025" y="2709863"/>
          <p14:tracePt t="136783" x="6338888" y="2709863"/>
          <p14:tracePt t="136800" x="6367463" y="2709863"/>
          <p14:tracePt t="136949" x="6362700" y="2709863"/>
          <p14:tracePt t="136956" x="6353175" y="2709863"/>
          <p14:tracePt t="136966" x="6343650" y="2709863"/>
          <p14:tracePt t="136983" x="6305550" y="2709863"/>
          <p14:tracePt t="137001" x="6215063" y="2709863"/>
          <p14:tracePt t="137017" x="6143625" y="2709863"/>
          <p14:tracePt t="137034" x="6086475" y="2709863"/>
          <p14:tracePt t="137050" x="6038850" y="2709863"/>
          <p14:tracePt t="137066" x="6000750" y="2709863"/>
          <p14:tracePt t="137083" x="5957888" y="2709863"/>
          <p14:tracePt t="137100" x="5905500" y="2714625"/>
          <p14:tracePt t="137117" x="5838825" y="2719388"/>
          <p14:tracePt t="137121" x="5805488" y="2724150"/>
          <p14:tracePt t="137133" x="5772150" y="2724150"/>
          <p14:tracePt t="137149" x="5710238" y="2728913"/>
          <p14:tracePt t="137166" x="5643563" y="2733675"/>
          <p14:tracePt t="137183" x="5567363" y="2733675"/>
          <p14:tracePt t="137201" x="5500688" y="2733675"/>
          <p14:tracePt t="137216" x="5481638" y="2738438"/>
          <p14:tracePt t="137233" x="5462588" y="2738438"/>
          <p14:tracePt t="137387" x="5457825" y="2738438"/>
          <p14:tracePt t="137404" x="5453063" y="2738438"/>
          <p14:tracePt t="137413" x="5438775" y="2738438"/>
          <p14:tracePt t="137419" x="5429250" y="2738438"/>
          <p14:tracePt t="137433" x="5405438" y="2738438"/>
          <p14:tracePt t="137449" x="5381625" y="2738438"/>
          <p14:tracePt t="137466" x="5367338" y="2738438"/>
          <p14:tracePt t="137482" x="5362575" y="2738438"/>
          <p14:tracePt t="137571" x="5367338" y="2738438"/>
          <p14:tracePt t="137580" x="5372100" y="2738438"/>
          <p14:tracePt t="137587" x="5386388" y="2738438"/>
          <p14:tracePt t="137600" x="5414963" y="2738438"/>
          <p14:tracePt t="137616" x="5472113" y="2738438"/>
          <p14:tracePt t="137632" x="5543550" y="2738438"/>
          <p14:tracePt t="137649" x="5614988" y="2738438"/>
          <p14:tracePt t="137666" x="5681663" y="2738438"/>
          <p14:tracePt t="137683" x="5757863" y="2738438"/>
          <p14:tracePt t="137699" x="5843588" y="2743200"/>
          <p14:tracePt t="137716" x="5924550" y="2743200"/>
          <p14:tracePt t="137733" x="5991225" y="2743200"/>
          <p14:tracePt t="137749" x="6062663" y="2738438"/>
          <p14:tracePt t="137766" x="6124575" y="2738438"/>
          <p14:tracePt t="137785" x="6219825" y="2733675"/>
          <p14:tracePt t="137801" x="6253163" y="2733675"/>
          <p14:tracePt t="137875" x="6243638" y="2733675"/>
          <p14:tracePt t="137883" x="6238875" y="2733675"/>
          <p14:tracePt t="137891" x="6229350" y="2733675"/>
          <p14:tracePt t="137899" x="6219825" y="2733675"/>
          <p14:tracePt t="137916" x="6176963" y="2733675"/>
          <p14:tracePt t="137933" x="6129338" y="2733675"/>
          <p14:tracePt t="137949" x="6081713" y="2738438"/>
          <p14:tracePt t="137966" x="6034088" y="2738438"/>
          <p14:tracePt t="137983" x="6015038" y="2738438"/>
          <p14:tracePt t="138001" x="5991225" y="2738438"/>
          <p14:tracePt t="138016" x="5981700" y="2738438"/>
          <p14:tracePt t="138033" x="5957888" y="2738438"/>
          <p14:tracePt t="138050" x="5910263" y="2738438"/>
          <p14:tracePt t="138066" x="5848350" y="2738438"/>
          <p14:tracePt t="138083" x="5791200" y="2738438"/>
          <p14:tracePt t="138100" x="5743575" y="2738438"/>
          <p14:tracePt t="138116" x="5719763" y="2738438"/>
          <p14:tracePt t="138122" x="5715000" y="2738438"/>
          <p14:tracePt t="138185" x="5715000" y="2743200"/>
          <p14:tracePt t="138193" x="5710238" y="2743200"/>
          <p14:tracePt t="138211" x="5710238" y="2747963"/>
          <p14:tracePt t="138227" x="5705475" y="2752725"/>
          <p14:tracePt t="138243" x="5705475" y="2757488"/>
          <p14:tracePt t="138252" x="5705475" y="2762250"/>
          <p14:tracePt t="138266" x="5705475" y="2771775"/>
          <p14:tracePt t="138282" x="5705475" y="2776538"/>
          <p14:tracePt t="138299" x="5700713" y="2790825"/>
          <p14:tracePt t="138316" x="5700713" y="2795588"/>
          <p14:tracePt t="138333" x="5700713" y="2800350"/>
          <p14:tracePt t="138350" x="5700713" y="2809875"/>
          <p14:tracePt t="138366" x="5700713" y="2819400"/>
          <p14:tracePt t="138383" x="5700713" y="2828925"/>
          <p14:tracePt t="138401" x="5700713" y="2843213"/>
          <p14:tracePt t="138416" x="5700713" y="2847975"/>
          <p14:tracePt t="138433" x="5700713" y="2852738"/>
          <p14:tracePt t="138449" x="5700713" y="2857500"/>
          <p14:tracePt t="138466" x="5700713" y="2867025"/>
          <p14:tracePt t="138626" x="5705475" y="2867025"/>
          <p14:tracePt t="138649" x="5710238" y="2867025"/>
          <p14:tracePt t="138657" x="5715000" y="2867025"/>
          <p14:tracePt t="138673" x="5719763" y="2867025"/>
          <p14:tracePt t="138688" x="5724525" y="2871788"/>
          <p14:tracePt t="138699" x="5729288" y="2871788"/>
          <p14:tracePt t="138715" x="5738813" y="2871788"/>
          <p14:tracePt t="138732" x="5748338" y="2871788"/>
          <p14:tracePt t="138749" x="5767388" y="2871788"/>
          <p14:tracePt t="138766" x="5781675" y="2871788"/>
          <p14:tracePt t="138783" x="5805488" y="2871788"/>
          <p14:tracePt t="138801" x="5843588" y="2871788"/>
          <p14:tracePt t="138816" x="5872163" y="2871788"/>
          <p14:tracePt t="138833" x="5905500" y="2871788"/>
          <p14:tracePt t="138849" x="5957888" y="2871788"/>
          <p14:tracePt t="138866" x="6029325" y="2871788"/>
          <p14:tracePt t="138883" x="6100763" y="2871788"/>
          <p14:tracePt t="138899" x="6176963" y="2871788"/>
          <p14:tracePt t="138916" x="6248400" y="2871788"/>
          <p14:tracePt t="138932" x="6310313" y="2867025"/>
          <p14:tracePt t="138949" x="6343650" y="2867025"/>
          <p14:tracePt t="138966" x="6348413" y="2867025"/>
          <p14:tracePt t="139045" x="6343650" y="2862263"/>
          <p14:tracePt t="139051" x="6338888" y="2862263"/>
          <p14:tracePt t="139067" x="6305550" y="2862263"/>
          <p14:tracePt t="139083" x="6238875" y="2862263"/>
          <p14:tracePt t="139099" x="6167438" y="2862263"/>
          <p14:tracePt t="139116" x="6091238" y="2862263"/>
          <p14:tracePt t="139121" x="6053138" y="2862263"/>
          <p14:tracePt t="139133" x="6024563" y="2862263"/>
          <p14:tracePt t="139149" x="5943600" y="2857500"/>
          <p14:tracePt t="139166" x="5881688" y="2852738"/>
          <p14:tracePt t="139183" x="5829300" y="2847975"/>
          <p14:tracePt t="139200" x="5762625" y="2843213"/>
          <p14:tracePt t="139217" x="5734050" y="2838450"/>
          <p14:tracePt t="139233" x="5705475" y="2828925"/>
          <p14:tracePt t="139250" x="5691188" y="2819400"/>
          <p14:tracePt t="139266" x="5686425" y="2809875"/>
          <p14:tracePt t="139282" x="5676900" y="2809875"/>
          <p14:tracePt t="139299" x="5672138" y="2800350"/>
          <p14:tracePt t="139316" x="5672138" y="2795588"/>
          <p14:tracePt t="139333" x="5667375" y="2781300"/>
          <p14:tracePt t="139349" x="5662613" y="2776538"/>
          <p14:tracePt t="139366" x="5662613" y="2771775"/>
          <p14:tracePt t="139411" x="5662613" y="2767013"/>
          <p14:tracePt t="139418" x="5667375" y="2767013"/>
          <p14:tracePt t="139433" x="5686425" y="2767013"/>
          <p14:tracePt t="139449" x="5734050" y="2757488"/>
          <p14:tracePt t="139466" x="5805488" y="2752725"/>
          <p14:tracePt t="139482" x="5876925" y="2743200"/>
          <p14:tracePt t="139499" x="5948363" y="2738438"/>
          <p14:tracePt t="139516" x="6015038" y="2733675"/>
          <p14:tracePt t="139533" x="6053138" y="2733675"/>
          <p14:tracePt t="139550" x="6057900" y="2733675"/>
          <p14:tracePt t="139603" x="6048375" y="2733675"/>
          <p14:tracePt t="139613" x="6043613" y="2733675"/>
          <p14:tracePt t="139619" x="6034088" y="2733675"/>
          <p14:tracePt t="139632" x="6015038" y="2733675"/>
          <p14:tracePt t="139649" x="5972175" y="2733675"/>
          <p14:tracePt t="139666" x="5905500" y="2738438"/>
          <p14:tracePt t="139682" x="5834063" y="2738438"/>
          <p14:tracePt t="139699" x="5748338" y="2738438"/>
          <p14:tracePt t="139716" x="5681663" y="2743200"/>
          <p14:tracePt t="139732" x="5638800" y="2752725"/>
          <p14:tracePt t="139749" x="5610225" y="2767013"/>
          <p14:tracePt t="139766" x="5605463" y="2771775"/>
          <p14:tracePt t="139782" x="5605463" y="2781300"/>
          <p14:tracePt t="139801" x="5605463" y="2805113"/>
          <p14:tracePt t="139816" x="5605463" y="2819400"/>
          <p14:tracePt t="139833" x="5605463" y="2838450"/>
          <p14:tracePt t="139849" x="5624513" y="2857500"/>
          <p14:tracePt t="139866" x="5657850" y="2867025"/>
          <p14:tracePt t="139883" x="5710238" y="2867025"/>
          <p14:tracePt t="139900" x="5757863" y="2867025"/>
          <p14:tracePt t="139916" x="5815013" y="2867025"/>
          <p14:tracePt t="139933" x="5881688" y="2862263"/>
          <p14:tracePt t="139950" x="5919788" y="2862263"/>
          <p14:tracePt t="139966" x="5953125" y="2857500"/>
          <p14:tracePt t="139983" x="5981700" y="2857500"/>
          <p14:tracePt t="140001" x="6029325" y="2857500"/>
          <p14:tracePt t="140016" x="6081713" y="2857500"/>
          <p14:tracePt t="140032" x="6153150" y="2852738"/>
          <p14:tracePt t="140049" x="6219825" y="2847975"/>
          <p14:tracePt t="140066" x="6276975" y="2843213"/>
          <p14:tracePt t="140082" x="6300788" y="2843213"/>
          <p14:tracePt t="140467" x="6296025" y="2843213"/>
          <p14:tracePt t="140475" x="6286500" y="2843213"/>
          <p14:tracePt t="140485" x="6272213" y="2843213"/>
          <p14:tracePt t="140493" x="6253163" y="2843213"/>
          <p14:tracePt t="140510" x="6200775" y="2843213"/>
          <p14:tracePt t="140527" x="6129338" y="2847975"/>
          <p14:tracePt t="140545" x="6019800" y="2857500"/>
          <p14:tracePt t="140583" x="5915025" y="2871788"/>
          <p14:tracePt t="140601" x="5876925" y="2876550"/>
          <p14:tracePt t="140616" x="5857875" y="2876550"/>
          <p14:tracePt t="140633" x="5834063" y="2876550"/>
          <p14:tracePt t="140649" x="5819775" y="2876550"/>
          <p14:tracePt t="140666" x="5795963" y="2876550"/>
          <p14:tracePt t="140683" x="5762625" y="2862263"/>
          <p14:tracePt t="140700" x="5715000" y="2847975"/>
          <p14:tracePt t="140717" x="5648325" y="2828925"/>
          <p14:tracePt t="140733" x="5595938" y="2809875"/>
          <p14:tracePt t="140750" x="5567363" y="2795588"/>
          <p14:tracePt t="140766" x="5557838" y="2786063"/>
          <p14:tracePt t="140783" x="5553075" y="2786063"/>
          <p14:tracePt t="140800" x="5562600" y="2776538"/>
          <p14:tracePt t="140816" x="5576888" y="2762250"/>
          <p14:tracePt t="140833" x="5600700" y="2747963"/>
          <p14:tracePt t="140850" x="5629275" y="2733675"/>
          <p14:tracePt t="140866" x="5667375" y="2724150"/>
          <p14:tracePt t="140883" x="5700713" y="2714625"/>
          <p14:tracePt t="140899" x="5743575" y="2709863"/>
          <p14:tracePt t="140916" x="5795963" y="2709863"/>
          <p14:tracePt t="140932" x="5857875" y="2709863"/>
          <p14:tracePt t="140949" x="5929313" y="2709863"/>
          <p14:tracePt t="140966" x="5981700" y="2709863"/>
          <p14:tracePt t="140983" x="6010275" y="2714625"/>
          <p14:tracePt t="140999" x="6019800" y="2714625"/>
          <p14:tracePt t="141081" x="6015038" y="2714625"/>
          <p14:tracePt t="141089" x="6005513" y="2714625"/>
          <p14:tracePt t="141099" x="5991225" y="2714625"/>
          <p14:tracePt t="141116" x="5938838" y="2714625"/>
          <p14:tracePt t="141121" x="5915025" y="2714625"/>
          <p14:tracePt t="141132" x="5886450" y="2714625"/>
          <p14:tracePt t="141149" x="5829300" y="2714625"/>
          <p14:tracePt t="141166" x="5786438" y="2714625"/>
          <p14:tracePt t="141182" x="5753100" y="2719388"/>
          <p14:tracePt t="141200" x="5715000" y="2733675"/>
          <p14:tracePt t="141217" x="5695950" y="2747963"/>
          <p14:tracePt t="141233" x="5681663" y="2767013"/>
          <p14:tracePt t="141249" x="5672138" y="2776538"/>
          <p14:tracePt t="141266" x="5667375" y="2786063"/>
          <p14:tracePt t="141282" x="5667375" y="2790825"/>
          <p14:tracePt t="141300" x="5667375" y="2800350"/>
          <p14:tracePt t="141317" x="5667375" y="2809875"/>
          <p14:tracePt t="141333" x="5667375" y="2819400"/>
          <p14:tracePt t="141366" x="5667375" y="2824163"/>
          <p14:tracePt t="141383" x="5672138" y="2824163"/>
          <p14:tracePt t="141401" x="5676900" y="2828925"/>
          <p14:tracePt t="141417" x="5691188" y="2828925"/>
          <p14:tracePt t="141433" x="5705475" y="2833688"/>
          <p14:tracePt t="141450" x="5724525" y="2833688"/>
          <p14:tracePt t="141466" x="5738813" y="2833688"/>
          <p14:tracePt t="141483" x="5757863" y="2833688"/>
          <p14:tracePt t="141500" x="5767388" y="2838450"/>
          <p14:tracePt t="141516" x="5772150" y="2838450"/>
          <p14:tracePt t="141533" x="5786438" y="2843213"/>
          <p14:tracePt t="141549" x="5810250" y="2843213"/>
          <p14:tracePt t="141566" x="5843588" y="2843213"/>
          <p14:tracePt t="141583" x="5891213" y="2843213"/>
          <p14:tracePt t="141601" x="5967413" y="2843213"/>
          <p14:tracePt t="141617" x="6019800" y="2843213"/>
          <p14:tracePt t="141632" x="6043613" y="2843213"/>
          <p14:tracePt t="141649" x="6062663" y="2843213"/>
          <p14:tracePt t="147900" x="6076950" y="2843213"/>
          <p14:tracePt t="147908" x="6105525" y="2847975"/>
          <p14:tracePt t="147920" x="6181725" y="2847975"/>
          <p14:tracePt t="147936" x="6300788" y="2852738"/>
          <p14:tracePt t="147952" x="6434138" y="2852738"/>
          <p14:tracePt t="147969" x="6553200" y="2867025"/>
          <p14:tracePt t="147985" x="6653213" y="2881313"/>
          <p14:tracePt t="148016" x="6843713" y="2914650"/>
          <p14:tracePt t="148033" x="6967538" y="2924175"/>
          <p14:tracePt t="148049" x="7100888" y="2943225"/>
          <p14:tracePt t="148066" x="7224713" y="2957513"/>
          <p14:tracePt t="148083" x="7324725" y="2967038"/>
          <p14:tracePt t="148100" x="7415213" y="2976563"/>
          <p14:tracePt t="148116" x="7491413" y="2986088"/>
          <p14:tracePt t="148133" x="7524750" y="2986088"/>
          <p14:tracePt t="148188" x="7515225" y="2986088"/>
          <p14:tracePt t="148195" x="7510463" y="2986088"/>
          <p14:tracePt t="148200" x="7505700" y="2986088"/>
          <p14:tracePt t="149028" x="7519988" y="2986088"/>
          <p14:tracePt t="149036" x="7534275" y="2986088"/>
          <p14:tracePt t="149043" x="7548563" y="2986088"/>
          <p14:tracePt t="149052" x="7558088" y="2986088"/>
          <p14:tracePt t="149068" x="7577138" y="2986088"/>
          <p14:tracePt t="149084" x="7591425" y="2986088"/>
          <p14:tracePt t="149101" x="7600950" y="2976563"/>
          <p14:tracePt t="149133" x="7605713" y="2971800"/>
          <p14:tracePt t="149136" x="7605713" y="2967038"/>
          <p14:tracePt t="149165" x="7605713" y="2957513"/>
          <p14:tracePt t="149182" x="7605713" y="2943225"/>
          <p14:tracePt t="149201" x="7610475" y="2933700"/>
          <p14:tracePt t="149218" x="7610475" y="2928938"/>
          <p14:tracePt t="149233" x="7610475" y="2924175"/>
          <p14:tracePt t="149249" x="7610475" y="2919413"/>
          <p14:tracePt t="149266" x="7610475" y="2900363"/>
          <p14:tracePt t="149283" x="7610475" y="2886075"/>
          <p14:tracePt t="149300" x="7610475" y="2871788"/>
          <p14:tracePt t="149317" x="7610475" y="2852738"/>
          <p14:tracePt t="149333" x="7610475" y="2843213"/>
          <p14:tracePt t="149350" x="7610475" y="2828925"/>
          <p14:tracePt t="149367" x="7610475" y="2819400"/>
          <p14:tracePt t="149384" x="7605713" y="2809875"/>
          <p14:tracePt t="149401" x="7605713" y="2805113"/>
          <p14:tracePt t="149443" x="7600950" y="2805113"/>
          <p14:tracePt t="149459" x="7596188" y="2805113"/>
          <p14:tracePt t="149475" x="7591425" y="2805113"/>
          <p14:tracePt t="149483" x="7586663" y="2805113"/>
          <p14:tracePt t="149500" x="7577138" y="2805113"/>
          <p14:tracePt t="149517" x="7562850" y="2805113"/>
          <p14:tracePt t="149533" x="7543800" y="2805113"/>
          <p14:tracePt t="149550" x="7519988" y="2805113"/>
          <p14:tracePt t="149566" x="7496175" y="2805113"/>
          <p14:tracePt t="149583" x="7477125" y="2805113"/>
          <p14:tracePt t="149600" x="7458075" y="2805113"/>
          <p14:tracePt t="149617" x="7453313" y="2805113"/>
          <p14:tracePt t="149633" x="7448550" y="2805113"/>
          <p14:tracePt t="149649" x="7443788" y="2805113"/>
          <p14:tracePt t="149666" x="7443788" y="2809875"/>
          <p14:tracePt t="149682" x="7439025" y="2819400"/>
          <p14:tracePt t="149716" x="7434263" y="2824163"/>
          <p14:tracePt t="149733" x="7434263" y="2833688"/>
          <p14:tracePt t="149750" x="7429500" y="2843213"/>
          <p14:tracePt t="149766" x="7429500" y="2852738"/>
          <p14:tracePt t="149783" x="7429500" y="2862263"/>
          <p14:tracePt t="149801" x="7429500" y="2881313"/>
          <p14:tracePt t="149816" x="7429500" y="2895600"/>
          <p14:tracePt t="149833" x="7439025" y="2914650"/>
          <p14:tracePt t="149850" x="7448550" y="2928938"/>
          <p14:tracePt t="149867" x="7467600" y="2938463"/>
          <p14:tracePt t="149883" x="7481888" y="2947988"/>
          <p14:tracePt t="149900" x="7491413" y="2957513"/>
          <p14:tracePt t="149916" x="7510463" y="2962275"/>
          <p14:tracePt t="149933" x="7529513" y="2967038"/>
          <p14:tracePt t="149950" x="7543800" y="2971800"/>
          <p14:tracePt t="149966" x="7562850" y="2976563"/>
          <p14:tracePt t="149983" x="7577138" y="2976563"/>
          <p14:tracePt t="150001" x="7596188" y="2981325"/>
          <p14:tracePt t="150017" x="7605713" y="2981325"/>
          <p14:tracePt t="150033" x="7615238" y="2981325"/>
          <p14:tracePt t="150050" x="7620000" y="2981325"/>
          <p14:tracePt t="150066" x="7629525" y="2976563"/>
          <p14:tracePt t="150084" x="7629525" y="2957513"/>
          <p14:tracePt t="150100" x="7629525" y="2943225"/>
          <p14:tracePt t="150117" x="7634288" y="2924175"/>
          <p14:tracePt t="150133" x="7634288" y="2900363"/>
          <p14:tracePt t="150137" x="7634288" y="2886075"/>
          <p14:tracePt t="150150" x="7634288" y="2876550"/>
          <p14:tracePt t="150167" x="7634288" y="2862263"/>
          <p14:tracePt t="150183" x="7624763" y="2843213"/>
          <p14:tracePt t="150201" x="7615238" y="2833688"/>
          <p14:tracePt t="150217" x="7610475" y="2833688"/>
          <p14:tracePt t="150233" x="7596188" y="2828925"/>
          <p14:tracePt t="150249" x="7581900" y="2824163"/>
          <p14:tracePt t="150266" x="7567613" y="2824163"/>
          <p14:tracePt t="150283" x="7548563" y="2824163"/>
          <p14:tracePt t="150299" x="7524750" y="2824163"/>
          <p14:tracePt t="150316" x="7496175" y="2824163"/>
          <p14:tracePt t="150333" x="7477125" y="2824163"/>
          <p14:tracePt t="150350" x="7462838" y="2819400"/>
          <p14:tracePt t="150366" x="7458075" y="2819400"/>
          <p14:tracePt t="150383" x="7453313" y="2819400"/>
          <p14:tracePt t="150400" x="7443788" y="2819400"/>
          <p14:tracePt t="150416" x="7434263" y="2828925"/>
          <p14:tracePt t="150433" x="7434263" y="2847975"/>
          <p14:tracePt t="150450" x="7424738" y="2862263"/>
          <p14:tracePt t="150466" x="7424738" y="2886075"/>
          <p14:tracePt t="150483" x="7424738" y="2900363"/>
          <p14:tracePt t="150499" x="7424738" y="2914650"/>
          <p14:tracePt t="150516" x="7434263" y="2919413"/>
          <p14:tracePt t="150533" x="7443788" y="2919413"/>
          <p14:tracePt t="150549" x="7467600" y="2924175"/>
          <p14:tracePt t="150566" x="7505700" y="2928938"/>
          <p14:tracePt t="150583" x="7562850" y="2933700"/>
          <p14:tracePt t="150600" x="7629525" y="2938463"/>
          <p14:tracePt t="150616" x="7648575" y="2943225"/>
          <p14:tracePt t="150633" x="7653338" y="2943225"/>
          <p14:tracePt t="150665" x="7653338" y="2938463"/>
          <p14:tracePt t="150673" x="7658100" y="2928938"/>
          <p14:tracePt t="150685" x="7658100" y="2919413"/>
          <p14:tracePt t="150700" x="7658100" y="2900363"/>
          <p14:tracePt t="150716" x="7653338" y="2867025"/>
          <p14:tracePt t="150733" x="7639050" y="2828925"/>
          <p14:tracePt t="150749" x="7620000" y="2809875"/>
          <p14:tracePt t="150766" x="7596188" y="2790825"/>
          <p14:tracePt t="150782" x="7581900" y="2781300"/>
          <p14:tracePt t="150799" x="7567613" y="2781300"/>
          <p14:tracePt t="150817" x="7558088" y="2781300"/>
          <p14:tracePt t="150833" x="7553325" y="2781300"/>
          <p14:tracePt t="150850" x="7543800" y="2781300"/>
          <p14:tracePt t="150866" x="7529513" y="2786063"/>
          <p14:tracePt t="150882" x="7505700" y="2795588"/>
          <p14:tracePt t="150899" x="7491413" y="2800350"/>
          <p14:tracePt t="150916" x="7486650" y="2800350"/>
          <p14:tracePt t="150932" x="7477125" y="2800350"/>
          <p14:tracePt t="150966" x="7472363" y="2805113"/>
          <p14:tracePt t="150983" x="7462838" y="2814638"/>
          <p14:tracePt t="151001" x="7453313" y="2828925"/>
          <p14:tracePt t="151016" x="7453313" y="2843213"/>
          <p14:tracePt t="151033" x="7453313" y="2867025"/>
          <p14:tracePt t="151050" x="7453313" y="2895600"/>
          <p14:tracePt t="151066" x="7453313" y="2924175"/>
          <p14:tracePt t="151083" x="7472363" y="2947988"/>
          <p14:tracePt t="151099" x="7496175" y="2967038"/>
          <p14:tracePt t="151116" x="7524750" y="2981325"/>
          <p14:tracePt t="151133" x="7543800" y="2986088"/>
          <p14:tracePt t="151137" x="7553325" y="2990850"/>
          <p14:tracePt t="151149" x="7558088" y="2990850"/>
          <p14:tracePt t="151165" x="7567613" y="2990850"/>
          <p14:tracePt t="151182" x="7572375" y="2990850"/>
          <p14:tracePt t="151199" x="7581900" y="2986088"/>
          <p14:tracePt t="151216" x="7596188" y="2962275"/>
          <p14:tracePt t="151232" x="7600950" y="2947988"/>
          <p14:tracePt t="151249" x="7600950" y="2938463"/>
          <p14:tracePt t="151266" x="7600950" y="2928938"/>
          <p14:tracePt t="151282" x="7605713" y="2919413"/>
          <p14:tracePt t="151299" x="7610475" y="2900363"/>
          <p14:tracePt t="151316" x="7610475" y="2890838"/>
          <p14:tracePt t="151333" x="7610475" y="2876550"/>
          <p14:tracePt t="151350" x="7610475" y="2862263"/>
          <p14:tracePt t="151366" x="7610475" y="2843213"/>
          <p14:tracePt t="151383" x="7605713" y="2828925"/>
          <p14:tracePt t="151401" x="7591425" y="2809875"/>
          <p14:tracePt t="151417" x="7581900" y="2805113"/>
          <p14:tracePt t="151433" x="7577138" y="2800350"/>
          <p14:tracePt t="151449" x="7572375" y="2800350"/>
          <p14:tracePt t="151483" x="7562850" y="2800350"/>
          <p14:tracePt t="151500" x="7553325" y="2795588"/>
          <p14:tracePt t="151516" x="7543800" y="2795588"/>
          <p14:tracePt t="151533" x="7534275" y="2795588"/>
          <p14:tracePt t="151550" x="7515225" y="2795588"/>
          <p14:tracePt t="151566" x="7500938" y="2795588"/>
          <p14:tracePt t="151583" x="7481888" y="2795588"/>
          <p14:tracePt t="151601" x="7467600" y="2805113"/>
          <p14:tracePt t="151617" x="7462838" y="2809875"/>
          <p14:tracePt t="151633" x="7462838" y="2814638"/>
          <p14:tracePt t="151649" x="7458075" y="2824163"/>
          <p14:tracePt t="151665" x="7458075" y="2833688"/>
          <p14:tracePt t="151683" x="7458075" y="2847975"/>
          <p14:tracePt t="151700" x="7458075" y="2862263"/>
          <p14:tracePt t="151716" x="7462838" y="2881313"/>
          <p14:tracePt t="151733" x="7477125" y="2900363"/>
          <p14:tracePt t="151750" x="7496175" y="2924175"/>
          <p14:tracePt t="151765" x="7524750" y="2943225"/>
          <p14:tracePt t="151783" x="7548563" y="2957513"/>
          <p14:tracePt t="151800" x="7586663" y="2962275"/>
          <p14:tracePt t="151817" x="7600950" y="2962275"/>
          <p14:tracePt t="151833" x="7605713" y="2962275"/>
          <p14:tracePt t="151850" x="7610475" y="2962275"/>
          <p14:tracePt t="151882" x="7620000" y="2962275"/>
          <p14:tracePt t="151899" x="7624763" y="2952750"/>
          <p14:tracePt t="151916" x="7624763" y="2938463"/>
          <p14:tracePt t="151933" x="7624763" y="2914650"/>
          <p14:tracePt t="151949" x="7624763" y="2890838"/>
          <p14:tracePt t="151966" x="7624763" y="2862263"/>
          <p14:tracePt t="151983" x="7620000" y="2847975"/>
          <p14:tracePt t="152001" x="7600950" y="2838450"/>
          <p14:tracePt t="152017" x="7596188" y="2838450"/>
          <p14:tracePt t="152033" x="7586663" y="2838450"/>
          <p14:tracePt t="152049" x="7581900" y="2838450"/>
          <p14:tracePt t="152066" x="7572375" y="2838450"/>
          <p14:tracePt t="152083" x="7567613" y="2838450"/>
          <p14:tracePt t="152100" x="7553325" y="2838450"/>
          <p14:tracePt t="152116" x="7543800" y="2838450"/>
          <p14:tracePt t="152133" x="7529513" y="2838450"/>
          <p14:tracePt t="152137" x="7519988" y="2838450"/>
          <p14:tracePt t="152149" x="7515225" y="2838450"/>
          <p14:tracePt t="152166" x="7505700" y="2838450"/>
          <p14:tracePt t="152200" x="7500938" y="2843213"/>
          <p14:tracePt t="152233" x="7496175" y="2852738"/>
          <p14:tracePt t="152249" x="7496175" y="2857500"/>
          <p14:tracePt t="152266" x="7496175" y="2867025"/>
          <p14:tracePt t="152283" x="7496175" y="2876550"/>
          <p14:tracePt t="152299" x="7496175" y="2886075"/>
          <p14:tracePt t="152316" x="7496175" y="2895600"/>
          <p14:tracePt t="152332" x="7496175" y="2900363"/>
          <p14:tracePt t="152349" x="7496175" y="2905125"/>
          <p14:tracePt t="152366" x="7500938" y="2905125"/>
          <p14:tracePt t="152972" x="7505700" y="2905125"/>
          <p14:tracePt t="152981" x="7510463" y="2905125"/>
          <p14:tracePt t="152995" x="7519988" y="2909888"/>
          <p14:tracePt t="153011" x="7524750" y="2909888"/>
          <p14:tracePt t="153027" x="7529513" y="2909888"/>
          <p14:tracePt t="153050" x="7539038" y="2909888"/>
          <p14:tracePt t="153148" x="7543800" y="2909888"/>
          <p14:tracePt t="153164" x="7548563" y="2909888"/>
          <p14:tracePt t="153180" x="7553325" y="2909888"/>
          <p14:tracePt t="153203" x="7558088" y="2909888"/>
          <p14:tracePt t="153227" x="7562850" y="2909888"/>
          <p14:tracePt t="153243" x="7572375" y="2909888"/>
          <p14:tracePt t="153257" x="7577138" y="2909888"/>
          <p14:tracePt t="153273" x="7577138" y="2905125"/>
          <p14:tracePt t="153282" x="7586663" y="2895600"/>
          <p14:tracePt t="153299" x="7591425" y="2881313"/>
          <p14:tracePt t="153316" x="7600950" y="2871788"/>
          <p14:tracePt t="153333" x="7600950" y="2862263"/>
          <p14:tracePt t="153349" x="7600950" y="2857500"/>
          <p14:tracePt t="153386" x="7600950" y="2852738"/>
          <p14:tracePt t="153443" x="7596188" y="2847975"/>
          <p14:tracePt t="153451" x="7591425" y="2847975"/>
          <p14:tracePt t="153459" x="7586663" y="2847975"/>
          <p14:tracePt t="153466" x="7577138" y="2843213"/>
          <p14:tracePt t="153482" x="7548563" y="2843213"/>
          <p14:tracePt t="153500" x="7524750" y="2838450"/>
          <p14:tracePt t="153516" x="7500938" y="2838450"/>
          <p14:tracePt t="153533" x="7491413" y="2838450"/>
          <p14:tracePt t="153550" x="7486650" y="2838450"/>
          <p14:tracePt t="153641" x="7486650" y="2843213"/>
          <p14:tracePt t="153656" x="7486650" y="2847975"/>
          <p14:tracePt t="153667" x="7486650" y="2852738"/>
          <p14:tracePt t="153681" x="7486650" y="2862263"/>
          <p14:tracePt t="153689" x="7486650" y="2867025"/>
          <p14:tracePt t="153699" x="7486650" y="2871788"/>
          <p14:tracePt t="153716" x="7486650" y="2881313"/>
          <p14:tracePt t="153733" x="7486650" y="2895600"/>
          <p14:tracePt t="153749" x="7496175" y="2905125"/>
          <p14:tracePt t="153766" x="7500938" y="2909888"/>
          <p14:tracePt t="153784" x="7510463" y="2914650"/>
          <p14:tracePt t="153801" x="7524750" y="2919413"/>
          <p14:tracePt t="153816" x="7548563" y="2924175"/>
          <p14:tracePt t="153833" x="7567613" y="2928938"/>
          <p14:tracePt t="153850" x="7591425" y="2928938"/>
          <p14:tracePt t="153866" x="7605713" y="2928938"/>
          <p14:tracePt t="153883" x="7615238" y="2928938"/>
          <p14:tracePt t="159789" x="7610475" y="2928938"/>
          <p14:tracePt t="159795" x="7600950" y="2928938"/>
          <p14:tracePt t="159806" x="7591425" y="2928938"/>
          <p14:tracePt t="159824" x="7572375" y="2924175"/>
          <p14:tracePt t="159841" x="7562850" y="2924175"/>
          <p14:tracePt t="159857" x="7543800" y="2924175"/>
          <p14:tracePt t="159899" x="7539038" y="2924175"/>
          <p14:tracePt t="159916" x="7534275" y="2924175"/>
          <p14:tracePt t="159932" x="7510463" y="2924175"/>
          <p14:tracePt t="159949" x="7458075" y="2919413"/>
          <p14:tracePt t="159966" x="7386638" y="2919413"/>
          <p14:tracePt t="159983" x="7339013" y="2919413"/>
          <p14:tracePt t="160001" x="7291388" y="2914650"/>
          <p14:tracePt t="160016" x="7277100" y="2914650"/>
          <p14:tracePt t="160033" x="7262813" y="2914650"/>
          <p14:tracePt t="160050" x="7253288" y="2914650"/>
          <p14:tracePt t="160066" x="7248525" y="2914650"/>
          <p14:tracePt t="160131" x="7248525" y="2909888"/>
          <p14:tracePt t="160139" x="7248525" y="2905125"/>
          <p14:tracePt t="160155" x="7248525" y="2900363"/>
          <p14:tracePt t="160170" x="7253288" y="2895600"/>
          <p14:tracePt t="160183" x="7258050" y="2890838"/>
          <p14:tracePt t="160201" x="7272338" y="2886075"/>
          <p14:tracePt t="160216" x="7277100" y="2881313"/>
          <p14:tracePt t="160249" x="7286625" y="2881313"/>
          <p14:tracePt t="160266" x="7300913" y="2881313"/>
          <p14:tracePt t="160283" x="7329488" y="2876550"/>
          <p14:tracePt t="160299" x="7348538" y="2876550"/>
          <p14:tracePt t="160316" x="7362825" y="2876550"/>
          <p14:tracePt t="160444" x="7367588" y="2876550"/>
          <p14:tracePt t="160460" x="7372350" y="2876550"/>
          <p14:tracePt t="160466" x="7372350" y="2871788"/>
          <p14:tracePt t="160483" x="7381875" y="2867025"/>
          <p14:tracePt t="160553" x="7386638" y="2867025"/>
          <p14:tracePt t="160572" x="7396163" y="2867025"/>
          <p14:tracePt t="160579" x="7400925" y="2867025"/>
          <p14:tracePt t="160586" x="7405688" y="2867025"/>
          <p14:tracePt t="160600" x="7410450" y="2867025"/>
          <p14:tracePt t="160780" x="7405688" y="2867025"/>
          <p14:tracePt t="160788" x="7400925" y="2867025"/>
          <p14:tracePt t="160801" x="7386638" y="2867025"/>
          <p14:tracePt t="160817" x="7362825" y="2867025"/>
          <p14:tracePt t="160833" x="7324725" y="2867025"/>
          <p14:tracePt t="160850" x="7267575" y="2867025"/>
          <p14:tracePt t="160866" x="7196138" y="2867025"/>
          <p14:tracePt t="160883" x="7138988" y="2867025"/>
          <p14:tracePt t="160899" x="7100888" y="2867025"/>
          <p14:tracePt t="160917" x="7077075" y="2867025"/>
          <p14:tracePt t="160933" x="7067550" y="2867025"/>
          <p14:tracePt t="160966" x="7062788" y="2867025"/>
          <p14:tracePt t="160983" x="7058025" y="2867025"/>
          <p14:tracePt t="161001" x="7034213" y="2867025"/>
          <p14:tracePt t="161017" x="7005638" y="2867025"/>
          <p14:tracePt t="161033" x="6981825" y="2867025"/>
          <p14:tracePt t="161050" x="6958013" y="2871788"/>
          <p14:tracePt t="161066" x="6929438" y="2881313"/>
          <p14:tracePt t="161083" x="6905625" y="2886075"/>
          <p14:tracePt t="161100" x="6881813" y="2895600"/>
          <p14:tracePt t="161116" x="6858000" y="2895600"/>
          <p14:tracePt t="161133" x="6834188" y="2900363"/>
          <p14:tracePt t="161150" x="6810375" y="2905125"/>
          <p14:tracePt t="161155" x="6800850" y="2905125"/>
          <p14:tracePt t="161166" x="6786563" y="2905125"/>
          <p14:tracePt t="161183" x="6767513" y="2909888"/>
          <p14:tracePt t="161201" x="6715125" y="2909888"/>
          <p14:tracePt t="161216" x="6648450" y="2909888"/>
          <p14:tracePt t="161232" x="6577013" y="2909888"/>
          <p14:tracePt t="161249" x="6500813" y="2909888"/>
          <p14:tracePt t="161266" x="6415088" y="2909888"/>
          <p14:tracePt t="161283" x="6343650" y="2909888"/>
          <p14:tracePt t="161300" x="6281738" y="2909888"/>
          <p14:tracePt t="161316" x="6210300" y="2909888"/>
          <p14:tracePt t="161333" x="6153150" y="2909888"/>
          <p14:tracePt t="161350" x="6100763" y="2909888"/>
          <p14:tracePt t="161366" x="6053138" y="2909888"/>
          <p14:tracePt t="161383" x="6019800" y="2909888"/>
          <p14:tracePt t="161401" x="5972175" y="2909888"/>
          <p14:tracePt t="161417" x="5948363" y="2909888"/>
          <p14:tracePt t="161433" x="5919788" y="2905125"/>
          <p14:tracePt t="161449" x="5872163" y="2905125"/>
          <p14:tracePt t="161466" x="5834063" y="2905125"/>
          <p14:tracePt t="161483" x="5800725" y="2905125"/>
          <p14:tracePt t="161499" x="5776913" y="2905125"/>
          <p14:tracePt t="161516" x="5757863" y="2905125"/>
          <p14:tracePt t="161579" x="5753100" y="2905125"/>
          <p14:tracePt t="161595" x="5743575" y="2900363"/>
          <p14:tracePt t="161603" x="5738813" y="2900363"/>
          <p14:tracePt t="161617" x="5719763" y="2900363"/>
          <p14:tracePt t="161633" x="5695950" y="2895600"/>
          <p14:tracePt t="161649" x="5676900" y="2890838"/>
          <p14:tracePt t="161666" x="5672138" y="2890838"/>
          <p14:tracePt t="161722" x="5676900" y="2890838"/>
          <p14:tracePt t="161729" x="5681663" y="2890838"/>
          <p14:tracePt t="161737" x="5686425" y="2890838"/>
          <p14:tracePt t="161749" x="5691188" y="2890838"/>
          <p14:tracePt t="161766" x="5700713" y="2890838"/>
          <p14:tracePt t="161782" x="5715000" y="2890838"/>
          <p14:tracePt t="161800" x="5734050" y="2890838"/>
          <p14:tracePt t="161816" x="5757863" y="2890838"/>
          <p14:tracePt t="161833" x="5781675" y="2890838"/>
          <p14:tracePt t="161849" x="5810250" y="2890838"/>
          <p14:tracePt t="161866" x="5838825" y="2890838"/>
          <p14:tracePt t="161883" x="5867400" y="2890838"/>
          <p14:tracePt t="161900" x="5900738" y="2890838"/>
          <p14:tracePt t="161917" x="5934075" y="2890838"/>
          <p14:tracePt t="161933" x="5976938" y="2890838"/>
          <p14:tracePt t="161949" x="6024563" y="2890838"/>
          <p14:tracePt t="161966" x="6076950" y="2890838"/>
          <p14:tracePt t="161983" x="6124575" y="2890838"/>
          <p14:tracePt t="162001" x="6215063" y="2890838"/>
          <p14:tracePt t="162017" x="6286500" y="2890838"/>
          <p14:tracePt t="162033" x="6353175" y="2890838"/>
          <p14:tracePt t="162050" x="6415088" y="2890838"/>
          <p14:tracePt t="162066" x="6477000" y="2890838"/>
          <p14:tracePt t="162083" x="6543675" y="2890838"/>
          <p14:tracePt t="162100" x="6586538" y="2890838"/>
          <p14:tracePt t="162117" x="6634163" y="2890838"/>
          <p14:tracePt t="162133" x="6686550" y="2890838"/>
          <p14:tracePt t="162150" x="6743700" y="2890838"/>
          <p14:tracePt t="162155" x="6777038" y="2890838"/>
          <p14:tracePt t="162166" x="6805613" y="2890838"/>
          <p14:tracePt t="162183" x="6877050" y="2890838"/>
          <p14:tracePt t="162200" x="6967538" y="2890838"/>
          <p14:tracePt t="162216" x="7015163" y="2890838"/>
          <p14:tracePt t="162232" x="7043738" y="2886075"/>
          <p14:tracePt t="162249" x="7062788" y="2881313"/>
          <p14:tracePt t="162266" x="7081838" y="2876550"/>
          <p14:tracePt t="162283" x="7086600" y="2876550"/>
          <p14:tracePt t="162300" x="7105650" y="2871788"/>
          <p14:tracePt t="162316" x="7124700" y="2867025"/>
          <p14:tracePt t="162333" x="7148513" y="2862263"/>
          <p14:tracePt t="162350" x="7177088" y="2857500"/>
          <p14:tracePt t="162367" x="7210425" y="2857500"/>
          <p14:tracePt t="162383" x="7253288" y="2857500"/>
          <p14:tracePt t="162401" x="7324725" y="2852738"/>
          <p14:tracePt t="162417" x="7372350" y="2852738"/>
          <p14:tracePt t="162433" x="7410450" y="2852738"/>
          <p14:tracePt t="162449" x="7439025" y="2852738"/>
          <p14:tracePt t="162466" x="7453313" y="2852738"/>
          <p14:tracePt t="162482" x="7458075" y="2852738"/>
          <p14:tracePt t="162499" x="7467600" y="2852738"/>
          <p14:tracePt t="162533" x="7472363" y="2852738"/>
          <p14:tracePt t="162619" x="7477125" y="2852738"/>
          <p14:tracePt t="162706" x="7467600" y="2852738"/>
          <p14:tracePt t="162715" x="7462838" y="2852738"/>
          <p14:tracePt t="162723" x="7453313" y="2852738"/>
          <p14:tracePt t="162733" x="7439025" y="2852738"/>
          <p14:tracePt t="162750" x="7405688" y="2852738"/>
          <p14:tracePt t="162766" x="7343775" y="2852738"/>
          <p14:tracePt t="162783" x="7272338" y="2852738"/>
          <p14:tracePt t="162801" x="7148513" y="2852738"/>
          <p14:tracePt t="162816" x="7081838" y="2852738"/>
          <p14:tracePt t="162833" x="7010400" y="2852738"/>
          <p14:tracePt t="162850" x="6972300" y="2852738"/>
          <p14:tracePt t="162866" x="6938963" y="2852738"/>
          <p14:tracePt t="162883" x="6910388" y="2852738"/>
          <p14:tracePt t="162900" x="6877050" y="2857500"/>
          <p14:tracePt t="162916" x="6819900" y="2862263"/>
          <p14:tracePt t="162933" x="6748463" y="2871788"/>
          <p14:tracePt t="162950" x="6653213" y="2871788"/>
          <p14:tracePt t="162966" x="6553200" y="2871788"/>
          <p14:tracePt t="162983" x="6457950" y="2871788"/>
          <p14:tracePt t="163001" x="6353175" y="2871788"/>
          <p14:tracePt t="163016" x="6319838" y="2871788"/>
          <p14:tracePt t="163033" x="6300788" y="2871788"/>
          <p14:tracePt t="163050" x="6281738" y="2871788"/>
          <p14:tracePt t="163066" x="6257925" y="2871788"/>
          <p14:tracePt t="163083" x="6234113" y="2871788"/>
          <p14:tracePt t="163099" x="6205538" y="2871788"/>
          <p14:tracePt t="163116" x="6167438" y="2871788"/>
          <p14:tracePt t="163133" x="6148388" y="2871788"/>
          <p14:tracePt t="163150" x="6124575" y="2871788"/>
          <p14:tracePt t="163156" x="6119813" y="2871788"/>
          <p14:tracePt t="163195" x="6115050" y="2871788"/>
          <p14:tracePt t="163204" x="6110288" y="2871788"/>
          <p14:tracePt t="163216" x="6072188" y="2871788"/>
          <p14:tracePt t="163233" x="6024563" y="2871788"/>
          <p14:tracePt t="163249" x="5986463" y="2871788"/>
          <p14:tracePt t="163266" x="5957888" y="2871788"/>
          <p14:tracePt t="163283" x="5934075" y="2871788"/>
          <p14:tracePt t="163299" x="5924550" y="2871788"/>
          <p14:tracePt t="163316" x="5919788" y="2871788"/>
          <p14:tracePt t="163332" x="5915025" y="2871788"/>
          <p14:tracePt t="163349" x="5905500" y="2871788"/>
          <p14:tracePt t="163366" x="5895975" y="2871788"/>
          <p14:tracePt t="163400" x="5891213" y="2871788"/>
          <p14:tracePt t="163420" x="5886450" y="2871788"/>
          <p14:tracePt t="163433" x="5872163" y="2871788"/>
          <p14:tracePt t="163450" x="5853113" y="2871788"/>
          <p14:tracePt t="163466" x="5829300" y="2871788"/>
          <p14:tracePt t="163483" x="5805488" y="2871788"/>
          <p14:tracePt t="163500" x="5786438" y="2871788"/>
          <p14:tracePt t="163516" x="5767388" y="2871788"/>
          <p14:tracePt t="163533" x="5743575" y="2871788"/>
          <p14:tracePt t="163550" x="5738813" y="2871788"/>
          <p14:tracePt t="163649" x="5743575" y="2871788"/>
          <p14:tracePt t="163665" x="5753100" y="2871788"/>
          <p14:tracePt t="163673" x="5757863" y="2871788"/>
          <p14:tracePt t="163682" x="5767388" y="2867025"/>
          <p14:tracePt t="163699" x="5791200" y="2867025"/>
          <p14:tracePt t="163716" x="5815013" y="2867025"/>
          <p14:tracePt t="163733" x="5843588" y="2867025"/>
          <p14:tracePt t="163750" x="5872163" y="2867025"/>
          <p14:tracePt t="163766" x="5905500" y="2867025"/>
          <p14:tracePt t="163782" x="5948363" y="2867025"/>
          <p14:tracePt t="163801" x="6019800" y="2871788"/>
          <p14:tracePt t="163816" x="6076950" y="2876550"/>
          <p14:tracePt t="163833" x="6153150" y="2881313"/>
          <p14:tracePt t="163850" x="6238875" y="2886075"/>
          <p14:tracePt t="163866" x="6348413" y="2886075"/>
          <p14:tracePt t="163883" x="6472238" y="2890838"/>
          <p14:tracePt t="163899" x="6605588" y="2895600"/>
          <p14:tracePt t="163916" x="6724650" y="2895600"/>
          <p14:tracePt t="163933" x="6824663" y="2895600"/>
          <p14:tracePt t="163950" x="6900863" y="2895600"/>
          <p14:tracePt t="163967" x="6972300" y="2895600"/>
          <p14:tracePt t="163984" x="7038975" y="2895600"/>
          <p14:tracePt t="164001" x="7119938" y="2890838"/>
          <p14:tracePt t="164017" x="7167563" y="2886075"/>
          <p14:tracePt t="164033" x="7219950" y="2886075"/>
          <p14:tracePt t="164050" x="7262813" y="2886075"/>
          <p14:tracePt t="164066" x="7291388" y="2886075"/>
          <p14:tracePt t="164083" x="7310438" y="2886075"/>
          <p14:tracePt t="164100" x="7315200" y="2886075"/>
          <p14:tracePt t="164116" x="7319963" y="2886075"/>
          <p14:tracePt t="164133" x="7324725" y="2886075"/>
          <p14:tracePt t="164150" x="7329488" y="2886075"/>
          <p14:tracePt t="164166" x="7339013" y="2881313"/>
          <p14:tracePt t="164183" x="7353300" y="2876550"/>
          <p14:tracePt t="164201" x="7372350" y="2876550"/>
          <p14:tracePt t="164216" x="7396163" y="2876550"/>
          <p14:tracePt t="164233" x="7419975" y="2876550"/>
          <p14:tracePt t="164249" x="7439025" y="2876550"/>
          <p14:tracePt t="164266" x="7448550" y="2871788"/>
          <p14:tracePt t="164620" x="7453313" y="2871788"/>
          <p14:tracePt t="164625" x="7458075" y="2871788"/>
          <p14:tracePt t="164635" x="7462838" y="2871788"/>
          <p14:tracePt t="164652" x="7477125" y="2871788"/>
          <p14:tracePt t="164658" x="7486650" y="2871788"/>
          <p14:tracePt t="164669" x="7496175" y="2871788"/>
          <p14:tracePt t="164685" x="7519988" y="2871788"/>
          <p14:tracePt t="164716" x="7539038" y="2871788"/>
          <p14:tracePt t="164866" x="7543800" y="2871788"/>
          <p14:tracePt t="164882" x="7548563" y="2871788"/>
          <p14:tracePt t="165571" x="7553325" y="2871788"/>
          <p14:tracePt t="165580" x="7558088" y="2871788"/>
          <p14:tracePt t="165586" x="7567613" y="2871788"/>
          <p14:tracePt t="165601" x="7577138" y="2871788"/>
          <p14:tracePt t="165618" x="7591425" y="2871788"/>
          <p14:tracePt t="165634" x="7600950" y="2871788"/>
          <p14:tracePt t="165650" x="7610475" y="2871788"/>
          <p14:tracePt t="165682" x="7634288" y="2871788"/>
          <p14:tracePt t="165716" x="7672388" y="2871788"/>
          <p14:tracePt t="165733" x="7686675" y="2871788"/>
          <p14:tracePt t="165750" x="7700963" y="2871788"/>
          <p14:tracePt t="165766" x="7705725" y="2871788"/>
          <p14:tracePt t="165783" x="7710488" y="2871788"/>
          <p14:tracePt t="165819" x="7715250" y="2871788"/>
          <p14:tracePt t="165843" x="7720013" y="2871788"/>
          <p14:tracePt t="165859" x="7724775" y="2871788"/>
          <p14:tracePt t="165867" x="7729538" y="2871788"/>
          <p14:tracePt t="165874" x="7739063" y="2871788"/>
          <p14:tracePt t="165889" x="7743825" y="2871788"/>
          <p14:tracePt t="165899" x="7748588" y="2871788"/>
          <p14:tracePt t="165916" x="7753350" y="2871788"/>
          <p14:tracePt t="165933" x="7758113" y="2871788"/>
          <p14:tracePt t="165950" x="7762875" y="2871788"/>
          <p14:tracePt t="165967" x="7772400" y="2871788"/>
          <p14:tracePt t="165983" x="7777163" y="2871788"/>
          <p14:tracePt t="166179" x="7772400" y="2871788"/>
          <p14:tracePt t="166187" x="7767638" y="2871788"/>
          <p14:tracePt t="166201" x="7743825" y="2871788"/>
          <p14:tracePt t="166216" x="7720013" y="2871788"/>
          <p14:tracePt t="166249" x="7648575" y="2871788"/>
          <p14:tracePt t="166282" x="7600950" y="2871788"/>
          <p14:tracePt t="166299" x="7591425" y="2871788"/>
          <p14:tracePt t="166316" x="7572375" y="2871788"/>
          <p14:tracePt t="166333" x="7553325" y="2871788"/>
          <p14:tracePt t="166350" x="7529513" y="2871788"/>
          <p14:tracePt t="166366" x="7510463" y="2871788"/>
          <p14:tracePt t="166382" x="7481888" y="2871788"/>
          <p14:tracePt t="166399" x="7472363" y="2871788"/>
          <p14:tracePt t="166523" x="7481888" y="2876550"/>
          <p14:tracePt t="166535" x="7491413" y="2876550"/>
          <p14:tracePt t="166537" x="7500938" y="2876550"/>
          <p14:tracePt t="166549" x="7515225" y="2876550"/>
          <p14:tracePt t="166566" x="7553325" y="2876550"/>
          <p14:tracePt t="166582" x="7596188" y="2876550"/>
          <p14:tracePt t="166599" x="7620000" y="2876550"/>
          <p14:tracePt t="166615" x="7629525" y="2876550"/>
          <p14:tracePt t="166632" x="7634288" y="2876550"/>
          <p14:tracePt t="166666" x="7639050" y="2876550"/>
          <p14:tracePt t="166683" x="7643813" y="2876550"/>
          <p14:tracePt t="166700" x="7653338" y="2876550"/>
          <p14:tracePt t="166716" x="7662863" y="2876550"/>
          <p14:tracePt t="166732" x="7672388" y="2876550"/>
          <p14:tracePt t="166750" x="7691438" y="2876550"/>
          <p14:tracePt t="166766" x="7715250" y="2876550"/>
          <p14:tracePt t="166783" x="7734300" y="2876550"/>
          <p14:tracePt t="166801" x="7762875" y="2876550"/>
          <p14:tracePt t="166817" x="7767638" y="2876550"/>
          <p14:tracePt t="166882" x="7772400" y="2876550"/>
          <p14:tracePt t="167013" x="7767638" y="2876550"/>
          <p14:tracePt t="167028" x="7762875" y="2876550"/>
          <p14:tracePt t="167036" x="7748588" y="2876550"/>
          <p14:tracePt t="167049" x="7729538" y="2876550"/>
          <p14:tracePt t="167066" x="7705725" y="2876550"/>
          <p14:tracePt t="167082" x="7677150" y="2876550"/>
          <p14:tracePt t="167099" x="7643813" y="2876550"/>
          <p14:tracePt t="167116" x="7615238" y="2876550"/>
          <p14:tracePt t="167133" x="7596188" y="2876550"/>
          <p14:tracePt t="167150" x="7577138" y="2876550"/>
          <p14:tracePt t="167155" x="7572375" y="2876550"/>
          <p14:tracePt t="167170" x="7567613" y="2876550"/>
          <p14:tracePt t="167182" x="7562850" y="2876550"/>
          <p14:tracePt t="167209" x="7558088" y="2876550"/>
          <p14:tracePt t="167240" x="7553325" y="2876550"/>
          <p14:tracePt t="167281" x="7548563" y="2876550"/>
          <p14:tracePt t="167289" x="7543800" y="2876550"/>
          <p14:tracePt t="167316" x="7539038" y="2876550"/>
          <p14:tracePt t="167468" x="7543800" y="2876550"/>
          <p14:tracePt t="167476" x="7548563" y="2876550"/>
          <p14:tracePt t="167483" x="7558088" y="2876550"/>
          <p14:tracePt t="167500" x="7581900" y="2876550"/>
          <p14:tracePt t="167516" x="7620000" y="2876550"/>
          <p14:tracePt t="167533" x="7653338" y="2876550"/>
          <p14:tracePt t="167550" x="7700963" y="2876550"/>
          <p14:tracePt t="167566" x="7739063" y="2876550"/>
          <p14:tracePt t="167583" x="7767638" y="2876550"/>
          <p14:tracePt t="167599" x="7791450" y="2876550"/>
          <p14:tracePt t="167616" x="7805738" y="2876550"/>
          <p14:tracePt t="167681" x="7810500" y="2876550"/>
          <p14:tracePt t="167827" x="7805738" y="2876550"/>
          <p14:tracePt t="167835" x="7800975" y="2876550"/>
          <p14:tracePt t="167850" x="7777163" y="2876550"/>
          <p14:tracePt t="167866" x="7743825" y="2876550"/>
          <p14:tracePt t="167883" x="7691438" y="2876550"/>
          <p14:tracePt t="167899" x="7634288" y="2876550"/>
          <p14:tracePt t="167916" x="7586663" y="2876550"/>
          <p14:tracePt t="167933" x="7543800" y="2876550"/>
          <p14:tracePt t="167949" x="7519988" y="2876550"/>
          <p14:tracePt t="167966" x="7496175" y="2876550"/>
          <p14:tracePt t="168123" x="7500938" y="2876550"/>
          <p14:tracePt t="168139" x="7510463" y="2876550"/>
          <p14:tracePt t="168148" x="7524750" y="2876550"/>
          <p14:tracePt t="168155" x="7539038" y="2876550"/>
          <p14:tracePt t="168166" x="7553325" y="2876550"/>
          <p14:tracePt t="168182" x="7591425" y="2876550"/>
          <p14:tracePt t="168199" x="7639050" y="2871788"/>
          <p14:tracePt t="168216" x="7691438" y="2871788"/>
          <p14:tracePt t="168233" x="7705725" y="2871788"/>
          <p14:tracePt t="168249" x="7710488" y="2867025"/>
          <p14:tracePt t="168400" x="7700963" y="2867025"/>
          <p14:tracePt t="168408" x="7696200" y="2867025"/>
          <p14:tracePt t="168417" x="7681913" y="2867025"/>
          <p14:tracePt t="168432" x="7662863" y="2871788"/>
          <p14:tracePt t="168449" x="7634288" y="2876550"/>
          <p14:tracePt t="168466" x="7605713" y="2876550"/>
          <p14:tracePt t="168483" x="7567613" y="2876550"/>
          <p14:tracePt t="168500" x="7539038" y="2876550"/>
          <p14:tracePt t="168516" x="7524750" y="2876550"/>
          <p14:tracePt t="168533" x="7519988" y="2876550"/>
          <p14:tracePt t="168626" x="7529513" y="2876550"/>
          <p14:tracePt t="168641" x="7539038" y="2876550"/>
          <p14:tracePt t="168649" x="7543800" y="2876550"/>
          <p14:tracePt t="168666" x="7572375" y="2881313"/>
          <p14:tracePt t="168683" x="7600950" y="2881313"/>
          <p14:tracePt t="168699" x="7624763" y="2881313"/>
          <p14:tracePt t="168716" x="7658100" y="2881313"/>
          <p14:tracePt t="168733" x="7691438" y="2881313"/>
          <p14:tracePt t="168750" x="7715250" y="2881313"/>
          <p14:tracePt t="168766" x="7739063" y="2881313"/>
          <p14:tracePt t="168785" x="7753350" y="2881313"/>
          <p14:tracePt t="168819" x="7758113" y="2881313"/>
          <p14:tracePt t="170780" x="7762875" y="2881313"/>
          <p14:tracePt t="170787" x="7767638" y="2881313"/>
          <p14:tracePt t="170924" x="7762875" y="2881313"/>
          <p14:tracePt t="170947" x="7758113" y="2881313"/>
          <p14:tracePt t="170955" x="7753350" y="2881313"/>
          <p14:tracePt t="170964" x="7748588" y="2881313"/>
          <p14:tracePt t="170978" x="7734300" y="2881313"/>
          <p14:tracePt t="170994" x="7705725" y="2881313"/>
          <p14:tracePt t="171011" x="7662863" y="2881313"/>
          <p14:tracePt t="171049" x="7534275" y="2881313"/>
          <p14:tracePt t="171066" x="7496175" y="2881313"/>
          <p14:tracePt t="171083" x="7472363" y="2881313"/>
          <p14:tracePt t="171100" x="7462838" y="2881313"/>
          <p14:tracePt t="171116" x="7448550" y="2881313"/>
          <p14:tracePt t="171132" x="7443788" y="2881313"/>
          <p14:tracePt t="171149" x="7429500" y="2881313"/>
          <p14:tracePt t="171166" x="7410450" y="2881313"/>
          <p14:tracePt t="171182" x="7367588" y="2881313"/>
          <p14:tracePt t="171200" x="7272338" y="2881313"/>
          <p14:tracePt t="171216" x="7219950" y="2881313"/>
          <p14:tracePt t="171233" x="7196138" y="2881313"/>
          <p14:tracePt t="171249" x="7177088" y="2881313"/>
          <p14:tracePt t="171388" x="7181850" y="2881313"/>
          <p14:tracePt t="171396" x="7186613" y="2881313"/>
          <p14:tracePt t="171403" x="7191375" y="2881313"/>
          <p14:tracePt t="171416" x="7224713" y="2881313"/>
          <p14:tracePt t="171433" x="7286625" y="2881313"/>
          <p14:tracePt t="171449" x="7348538" y="2886075"/>
          <p14:tracePt t="171466" x="7400925" y="2886075"/>
          <p14:tracePt t="171483" x="7429500" y="2886075"/>
          <p14:tracePt t="171499" x="7443788" y="2886075"/>
          <p14:tracePt t="171516" x="7448550" y="2886075"/>
          <p14:tracePt t="171533" x="7453313" y="2886075"/>
          <p14:tracePt t="171549" x="7462838" y="2886075"/>
          <p14:tracePt t="171566" x="7486650" y="2886075"/>
          <p14:tracePt t="171583" x="7510463" y="2886075"/>
          <p14:tracePt t="171600" x="7548563" y="2886075"/>
          <p14:tracePt t="171616" x="7567613" y="2886075"/>
          <p14:tracePt t="171632" x="7581900" y="2886075"/>
          <p14:tracePt t="171649" x="7596188" y="2886075"/>
          <p14:tracePt t="171861" x="7591425" y="2886075"/>
          <p14:tracePt t="171867" x="7581900" y="2890838"/>
          <p14:tracePt t="171883" x="7558088" y="2890838"/>
          <p14:tracePt t="171900" x="7534275" y="2890838"/>
          <p14:tracePt t="171917" x="7505700" y="2890838"/>
          <p14:tracePt t="171933" x="7486650" y="2890838"/>
          <p14:tracePt t="171950" x="7472363" y="2890838"/>
          <p14:tracePt t="171967" x="7453313" y="2890838"/>
          <p14:tracePt t="171983" x="7429500" y="2890838"/>
          <p14:tracePt t="172001" x="7400925" y="2890838"/>
          <p14:tracePt t="172017" x="7377113" y="2890838"/>
          <p14:tracePt t="172033" x="7358063" y="2890838"/>
          <p14:tracePt t="172050" x="7348538" y="2890838"/>
          <p14:tracePt t="172067" x="7339013" y="2890838"/>
          <p14:tracePt t="172289" x="7348538" y="2890838"/>
          <p14:tracePt t="172304" x="7353300" y="2890838"/>
          <p14:tracePt t="172312" x="7362825" y="2890838"/>
          <p14:tracePt t="172320" x="7377113" y="2890838"/>
          <p14:tracePt t="172332" x="7391400" y="2890838"/>
          <p14:tracePt t="172349" x="7453313" y="2890838"/>
          <p14:tracePt t="172366" x="7519988" y="2890838"/>
          <p14:tracePt t="172383" x="7591425" y="2890838"/>
          <p14:tracePt t="172401" x="7696200" y="2890838"/>
          <p14:tracePt t="172416" x="7724775" y="2890838"/>
          <p14:tracePt t="172433" x="7748588" y="2890838"/>
          <p14:tracePt t="172450" x="7753350" y="2890838"/>
          <p14:tracePt t="172491" x="7758113" y="2890838"/>
          <p14:tracePt t="172500" x="7762875" y="2886075"/>
          <p14:tracePt t="172517" x="7772400" y="2886075"/>
          <p14:tracePt t="172533" x="7781925" y="2881313"/>
          <p14:tracePt t="172549" x="7781925" y="2876550"/>
          <p14:tracePt t="172566" x="7786688" y="2871788"/>
          <p14:tracePt t="172642" x="7786688" y="2867025"/>
          <p14:tracePt t="172649" x="7777163" y="2867025"/>
          <p14:tracePt t="172656" x="7772400" y="2867025"/>
          <p14:tracePt t="172666" x="7762875" y="2862263"/>
          <p14:tracePt t="172682" x="7734300" y="2862263"/>
          <p14:tracePt t="172699" x="7710488" y="2857500"/>
          <p14:tracePt t="172716" x="7672388" y="2847975"/>
          <p14:tracePt t="172733" x="7648575" y="2843213"/>
          <p14:tracePt t="172750" x="7629525" y="2838450"/>
          <p14:tracePt t="172766" x="7610475" y="2833688"/>
          <p14:tracePt t="172783" x="7596188" y="2833688"/>
          <p14:tracePt t="172801" x="7577138" y="2833688"/>
          <p14:tracePt t="172816" x="7567613" y="2833688"/>
          <p14:tracePt t="172833" x="7558088" y="2833688"/>
          <p14:tracePt t="172850" x="7543800" y="2833688"/>
          <p14:tracePt t="172866" x="7534275" y="2833688"/>
          <p14:tracePt t="172883" x="7524750" y="2838450"/>
          <p14:tracePt t="172899" x="7515225" y="2838450"/>
          <p14:tracePt t="172916" x="7510463" y="2843213"/>
          <p14:tracePt t="172933" x="7510463" y="2847975"/>
          <p14:tracePt t="172949" x="7505700" y="2852738"/>
          <p14:tracePt t="172966" x="7505700" y="2857500"/>
          <p14:tracePt t="172983" x="7505700" y="2862263"/>
          <p14:tracePt t="173016" x="7505700" y="2867025"/>
          <p14:tracePt t="173035" x="7505700" y="2871788"/>
          <p14:tracePt t="173050" x="7515225" y="2881313"/>
          <p14:tracePt t="173067" x="7529513" y="2886075"/>
          <p14:tracePt t="173083" x="7553325" y="2895600"/>
          <p14:tracePt t="173100" x="7577138" y="2900363"/>
          <p14:tracePt t="173117" x="7615238" y="2905125"/>
          <p14:tracePt t="173133" x="7667625" y="2905125"/>
          <p14:tracePt t="173150" x="7720013" y="2909888"/>
          <p14:tracePt t="173153" x="7748588" y="2914650"/>
          <p14:tracePt t="173166" x="7767638" y="2914650"/>
          <p14:tracePt t="173183" x="7800975" y="2914650"/>
          <p14:tracePt t="173200" x="7829550" y="2914650"/>
          <p14:tracePt t="173235" x="7834313" y="2914650"/>
          <p14:tracePt t="173250" x="7834313" y="2905125"/>
          <p14:tracePt t="173266" x="7839075" y="2895600"/>
          <p14:tracePt t="173283" x="7843838" y="2890838"/>
          <p14:tracePt t="173299" x="7843838" y="2881313"/>
          <p14:tracePt t="173316" x="7843838" y="2871788"/>
          <p14:tracePt t="173333" x="7843838" y="2857500"/>
          <p14:tracePt t="173349" x="7839075" y="2852738"/>
          <p14:tracePt t="173366" x="7829550" y="2838450"/>
          <p14:tracePt t="173383" x="7805738" y="2824163"/>
          <p14:tracePt t="173399" x="7777163" y="2814638"/>
          <p14:tracePt t="173416" x="7715250" y="2805113"/>
          <p14:tracePt t="173432" x="7681913" y="2795588"/>
          <p14:tracePt t="173450" x="7653338" y="2795588"/>
          <p14:tracePt t="173466" x="7639050" y="2795588"/>
          <p14:tracePt t="173483" x="7629525" y="2795588"/>
          <p14:tracePt t="173500" x="7620000" y="2800350"/>
          <p14:tracePt t="173516" x="7605713" y="2819400"/>
          <p14:tracePt t="173533" x="7577138" y="2838450"/>
          <p14:tracePt t="173550" x="7553325" y="2857500"/>
          <p14:tracePt t="173566" x="7543800" y="2871788"/>
          <p14:tracePt t="173583" x="7534275" y="2881313"/>
          <p14:tracePt t="173600" x="7529513" y="2886075"/>
          <p14:tracePt t="173617" x="7529513" y="2890838"/>
          <p14:tracePt t="173649" x="7529513" y="2900363"/>
          <p14:tracePt t="173666" x="7529513" y="2905125"/>
          <p14:tracePt t="173683" x="7539038" y="2909888"/>
          <p14:tracePt t="173699" x="7548563" y="2914650"/>
          <p14:tracePt t="173716" x="7562850" y="2919413"/>
          <p14:tracePt t="173732" x="7577138" y="2924175"/>
          <p14:tracePt t="173749" x="7600950" y="2924175"/>
          <p14:tracePt t="173766" x="7615238" y="2924175"/>
          <p14:tracePt t="173783" x="7634288" y="2924175"/>
          <p14:tracePt t="173801" x="7672388" y="2924175"/>
          <p14:tracePt t="173816" x="7696200" y="2924175"/>
          <p14:tracePt t="173833" x="7720013" y="2924175"/>
          <p14:tracePt t="173850" x="7743825" y="2919413"/>
          <p14:tracePt t="173866" x="7767638" y="2914650"/>
          <p14:tracePt t="173883" x="7777163" y="2905125"/>
          <p14:tracePt t="173916" x="7777163" y="2900363"/>
          <p14:tracePt t="173946" x="7777163" y="2895600"/>
          <p14:tracePt t="173971" x="7772400" y="2890838"/>
          <p14:tracePt t="173978" x="7762875" y="2890838"/>
          <p14:tracePt t="173987" x="7753350" y="2890838"/>
          <p14:tracePt t="174001" x="7739063" y="2890838"/>
          <p14:tracePt t="174016" x="7724775" y="2890838"/>
          <p14:tracePt t="174033" x="7720013" y="2890838"/>
          <p14:tracePt t="202092" x="7734300" y="2900363"/>
          <p14:tracePt t="202099" x="7743825" y="2909888"/>
          <p14:tracePt t="202112" x="7772400" y="2943225"/>
          <p14:tracePt t="202129" x="7796213" y="2981325"/>
          <p14:tracePt t="202145" x="7810500" y="3028950"/>
          <p14:tracePt t="202162" x="7820025" y="3086100"/>
          <p14:tracePt t="202179" x="7815263" y="3143250"/>
          <p14:tracePt t="202216" x="7672388" y="3238500"/>
          <p14:tracePt t="202233" x="7600950" y="3248025"/>
          <p14:tracePt t="202249" x="7524750" y="3248025"/>
          <p14:tracePt t="202266" x="7443788" y="3238500"/>
          <p14:tracePt t="202283" x="7372350" y="3219450"/>
          <p14:tracePt t="202299" x="7286625" y="3195638"/>
          <p14:tracePt t="202316" x="7215188" y="3186113"/>
          <p14:tracePt t="202333" x="7158038" y="3181350"/>
          <p14:tracePt t="202349" x="7129463" y="3181350"/>
          <p14:tracePt t="202383" x="7138988" y="3181350"/>
          <p14:tracePt t="202400" x="7177088" y="3181350"/>
          <p14:tracePt t="202417" x="7224713" y="3190875"/>
          <p14:tracePt t="202433" x="7291388" y="3219450"/>
          <p14:tracePt t="202450" x="7381875" y="3248025"/>
          <p14:tracePt t="202467" x="7505700" y="3267075"/>
          <p14:tracePt t="202483" x="7643813" y="3271838"/>
          <p14:tracePt t="202500" x="7810500" y="3271838"/>
          <p14:tracePt t="202516" x="7943850" y="3257550"/>
          <p14:tracePt t="202533" x="8020050" y="3214688"/>
          <p14:tracePt t="202550" x="8086725" y="3148013"/>
          <p14:tracePt t="202566" x="8120063" y="3071813"/>
          <p14:tracePt t="202583" x="8124825" y="2986088"/>
          <p14:tracePt t="202600" x="8072438" y="2805113"/>
          <p14:tracePt t="202616" x="7958138" y="2647950"/>
          <p14:tracePt t="202633" x="7858125" y="2543175"/>
          <p14:tracePt t="202649" x="7696200" y="2424113"/>
          <p14:tracePt t="202666" x="7515225" y="2295525"/>
          <p14:tracePt t="202683" x="7300913" y="2185988"/>
          <p14:tracePt t="202699" x="7029450" y="2066925"/>
          <p14:tracePt t="202715" x="6700838" y="1947863"/>
          <p14:tracePt t="202732" x="6353175" y="1838325"/>
          <p14:tracePt t="202749" x="5953125" y="1743075"/>
          <p14:tracePt t="202766" x="5538788" y="1671638"/>
          <p14:tracePt t="202783" x="5100638" y="1609725"/>
          <p14:tracePt t="202801" x="4491038" y="1538288"/>
          <p14:tracePt t="202816" x="4105275" y="1504950"/>
          <p14:tracePt t="202833" x="3733800" y="1462088"/>
          <p14:tracePt t="202850" x="3376613" y="1428750"/>
          <p14:tracePt t="202866" x="2995613" y="1404938"/>
          <p14:tracePt t="202882" x="2552700" y="1395413"/>
          <p14:tracePt t="202899" x="2205038" y="1395413"/>
          <p14:tracePt t="202916" x="1828800" y="1395413"/>
          <p14:tracePt t="202933" x="1428750" y="1400175"/>
          <p14:tracePt t="202950" x="947738" y="1419225"/>
          <p14:tracePt t="202966" x="466725" y="1433513"/>
          <p14:tracePt t="202983" x="57150" y="1471613"/>
          <p14:tracePt t="203578" x="2171700" y="4829175"/>
          <p14:tracePt t="203594" x="2700338" y="4733925"/>
          <p14:tracePt t="203611" x="3095625" y="4648200"/>
          <p14:tracePt t="203649" x="3819525" y="4348163"/>
          <p14:tracePt t="203666" x="4067175" y="4229100"/>
          <p14:tracePt t="203683" x="4243388" y="4129088"/>
          <p14:tracePt t="203699" x="4457700" y="3952875"/>
          <p14:tracePt t="203716" x="4624388" y="3805238"/>
          <p14:tracePt t="203733" x="4800600" y="3709988"/>
          <p14:tracePt t="203750" x="4948238" y="3662363"/>
          <p14:tracePt t="203766" x="5048250" y="3657600"/>
          <p14:tracePt t="203783" x="5119688" y="3662363"/>
          <p14:tracePt t="203801" x="5214938" y="3700463"/>
          <p14:tracePt t="203816" x="5243513" y="3709988"/>
          <p14:tracePt t="203833" x="5248275" y="3709988"/>
          <p14:tracePt t="203866" x="5262563" y="3705225"/>
          <p14:tracePt t="203883" x="5305425" y="3676650"/>
          <p14:tracePt t="203899" x="5391150" y="3619500"/>
          <p14:tracePt t="203916" x="5510213" y="3562350"/>
          <p14:tracePt t="203933" x="5672138" y="3505200"/>
          <p14:tracePt t="203949" x="5848350" y="3476625"/>
          <p14:tracePt t="203966" x="5976938" y="3467100"/>
          <p14:tracePt t="203982" x="6091238" y="3467100"/>
          <p14:tracePt t="204001" x="6215063" y="3490913"/>
          <p14:tracePt t="204016" x="6234113" y="3490913"/>
          <p14:tracePt t="204099" x="6224588" y="3495675"/>
          <p14:tracePt t="204107" x="6219825" y="3495675"/>
          <p14:tracePt t="204116" x="6210300" y="3500438"/>
          <p14:tracePt t="204133" x="6191250" y="3500438"/>
          <p14:tracePt t="204150" x="6172200" y="3514725"/>
          <p14:tracePt t="204166" x="6143625" y="3529013"/>
          <p14:tracePt t="204183" x="6100763" y="3557588"/>
          <p14:tracePt t="204187" x="6072188" y="3581400"/>
          <p14:tracePt t="204200" x="6005513" y="3652838"/>
          <p14:tracePt t="204216" x="5948363" y="3729038"/>
          <p14:tracePt t="204233" x="5915025" y="3800475"/>
          <p14:tracePt t="204250" x="5895975" y="3852863"/>
          <p14:tracePt t="204266" x="5895975" y="3881438"/>
          <p14:tracePt t="204282" x="5891213" y="3895725"/>
          <p14:tracePt t="204299" x="5891213" y="3914775"/>
          <p14:tracePt t="204316" x="5891213" y="3938588"/>
          <p14:tracePt t="204332" x="5891213" y="3948113"/>
          <p14:tracePt t="204349" x="5891213" y="3952875"/>
          <p14:tracePt t="223899" x="5886450" y="3952875"/>
          <p14:tracePt t="223909" x="5881688" y="3948113"/>
          <p14:tracePt t="223923" x="5848350" y="3933825"/>
          <p14:tracePt t="223939" x="5729288" y="3910013"/>
          <p14:tracePt t="223956" x="5486400" y="3886200"/>
          <p14:tracePt t="223973" x="5157788" y="3871913"/>
          <p14:tracePt t="223999" x="5119688" y="3871913"/>
          <p14:tracePt t="224364" x="5124450" y="3871913"/>
          <p14:tracePt t="224371" x="5138738" y="3871913"/>
          <p14:tracePt t="224379" x="5157788" y="3871913"/>
          <p14:tracePt t="224389" x="5176838" y="3871913"/>
          <p14:tracePt t="224405" x="5210175" y="3867150"/>
          <p14:tracePt t="224421" x="5233988" y="3867150"/>
          <p14:tracePt t="224449" x="5248275" y="3862388"/>
          <p14:tracePt t="224466" x="5248275" y="3852863"/>
          <p14:tracePt t="224483" x="5248275" y="3848100"/>
          <p14:tracePt t="224499" x="5243513" y="3833813"/>
          <p14:tracePt t="224516" x="5229225" y="3810000"/>
          <p14:tracePt t="224533" x="5210175" y="3786188"/>
          <p14:tracePt t="224549" x="5172075" y="3729038"/>
          <p14:tracePt t="224566" x="5124450" y="3633788"/>
          <p14:tracePt t="224582" x="5033963" y="3438525"/>
          <p14:tracePt t="224600" x="4848225" y="3067050"/>
          <p14:tracePt t="224616" x="4638675" y="2743200"/>
          <p14:tracePt t="224633" x="4367213" y="2390775"/>
          <p14:tracePt t="224649" x="4057650" y="2033588"/>
          <p14:tracePt t="224666" x="3657600" y="1662113"/>
          <p14:tracePt t="224682" x="3233738" y="1285875"/>
          <p14:tracePt t="224699" x="2824163" y="966788"/>
          <p14:tracePt t="224716" x="2471738" y="704850"/>
          <p14:tracePt t="224732" x="2124075" y="481013"/>
          <p14:tracePt t="224749" x="1800225" y="319088"/>
          <p14:tracePt t="224766" x="1524000" y="214313"/>
          <p14:tracePt t="224783" x="1290638" y="185738"/>
          <p14:tracePt t="224800" x="1014413" y="204788"/>
          <p14:tracePt t="224816" x="814388" y="242888"/>
          <p14:tracePt t="224832" x="590550" y="319088"/>
          <p14:tracePt t="224849" x="428625" y="371475"/>
          <p14:tracePt t="224866" x="285750" y="447675"/>
          <p14:tracePt t="224882" x="219075" y="500063"/>
          <p14:tracePt t="224899" x="185738" y="538163"/>
          <p14:tracePt t="224916" x="176213" y="557213"/>
          <p14:tracePt t="224932" x="176213" y="571500"/>
          <p14:tracePt t="224949" x="176213" y="576263"/>
          <p14:tracePt t="224966" x="176213" y="581025"/>
          <p14:tracePt t="224983" x="176213" y="595313"/>
          <p14:tracePt t="225001" x="190500" y="609600"/>
          <p14:tracePt t="225016" x="200025" y="609600"/>
          <p14:tracePt t="225033" x="214313" y="609600"/>
          <p14:tracePt t="225049" x="238125" y="600075"/>
          <p14:tracePt t="225066" x="300038" y="561975"/>
          <p14:tracePt t="225083" x="371475" y="485775"/>
          <p14:tracePt t="225100" x="452438" y="400050"/>
          <p14:tracePt t="225117" x="528638" y="314325"/>
          <p14:tracePt t="225133" x="600075" y="233363"/>
          <p14:tracePt t="225427" x="981075" y="38100"/>
          <p14:tracePt t="225435" x="981075" y="33338"/>
          <p14:tracePt t="225450" x="985838" y="19050"/>
          <p14:tracePt t="225466" x="985838" y="9525"/>
          <p14:tracePt t="225488" x="981075" y="4763"/>
          <p14:tracePt t="225953" x="938213" y="52388"/>
        </p14:tracePtLst>
      </p14:laserTraceLst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578"/>
            <a:ext cx="8229600" cy="857250"/>
          </a:xfrm>
        </p:spPr>
        <p:txBody>
          <a:bodyPr/>
          <a:lstStyle/>
          <a:p>
            <a:r>
              <a:rPr lang="en-US" dirty="0"/>
              <a:t>Avian Influenza in Bir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956" y="1114742"/>
            <a:ext cx="8829232" cy="3616015"/>
          </a:xfrm>
        </p:spPr>
        <p:txBody>
          <a:bodyPr>
            <a:normAutofit/>
          </a:bodyPr>
          <a:lstStyle/>
          <a:p>
            <a:r>
              <a:rPr lang="en-US" sz="2000" dirty="0"/>
              <a:t>Wild aquatic bird species - natural reservoir</a:t>
            </a:r>
          </a:p>
          <a:p>
            <a:r>
              <a:rPr lang="en-US" sz="2000" dirty="0"/>
              <a:t>Can infect domestic poultry and other bird and animal species</a:t>
            </a:r>
          </a:p>
          <a:p>
            <a:r>
              <a:rPr lang="en-US" sz="2000" dirty="0"/>
              <a:t>Virus replicates in GI tract</a:t>
            </a:r>
          </a:p>
          <a:p>
            <a:r>
              <a:rPr lang="en-US" sz="2000" dirty="0"/>
              <a:t>Viruses shed in saliva, nasal secretions</a:t>
            </a:r>
          </a:p>
          <a:p>
            <a:pPr marL="300038" lvl="1" indent="0">
              <a:buNone/>
            </a:pPr>
            <a:r>
              <a:rPr lang="en-US" sz="2000" dirty="0"/>
              <a:t>and </a:t>
            </a:r>
            <a:r>
              <a:rPr lang="en-US" sz="2000" dirty="0" err="1"/>
              <a:t>faeces</a:t>
            </a:r>
            <a:endParaRPr lang="en-US" sz="2000" dirty="0"/>
          </a:p>
          <a:p>
            <a:r>
              <a:rPr lang="en-US" sz="2000" dirty="0"/>
              <a:t>Transmission primarily by </a:t>
            </a:r>
            <a:r>
              <a:rPr lang="en-US" sz="2000" dirty="0" err="1"/>
              <a:t>faecal</a:t>
            </a:r>
            <a:r>
              <a:rPr lang="en-US" sz="2000" dirty="0"/>
              <a:t>-oral route</a:t>
            </a:r>
          </a:p>
          <a:p>
            <a:r>
              <a:rPr lang="en-US" sz="2000" dirty="0"/>
              <a:t>&gt;420 million domestic poultry </a:t>
            </a:r>
          </a:p>
          <a:p>
            <a:pPr marL="0" indent="0">
              <a:buNone/>
            </a:pPr>
            <a:r>
              <a:rPr lang="en-US" sz="2000" dirty="0"/>
              <a:t>	died/culled since 2005 globally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5132" y="2440743"/>
            <a:ext cx="4025085" cy="218232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8438" y="4889791"/>
            <a:ext cx="731963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https://www.cdc.gov/flu/avianflu/index.ht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https://www.woah.org/en/disease/avian-influenza/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 Shi et al.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er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icrobes Infect. 2023</a:t>
            </a:r>
          </a:p>
        </p:txBody>
      </p:sp>
    </p:spTree>
    <p:extLst>
      <p:ext uri="{BB962C8B-B14F-4D97-AF65-F5344CB8AC3E}">
        <p14:creationId xmlns:p14="http://schemas.microsoft.com/office/powerpoint/2010/main" val="1936583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5827"/>
            <a:ext cx="7600950" cy="994172"/>
          </a:xfrm>
        </p:spPr>
        <p:txBody>
          <a:bodyPr>
            <a:normAutofit/>
          </a:bodyPr>
          <a:lstStyle/>
          <a:p>
            <a:pPr algn="ctr"/>
            <a:r>
              <a:rPr lang="en-GB" sz="2100" dirty="0"/>
              <a:t>WHO's Global Influenza Surveillance and Response System (GISRS)</a:t>
            </a:r>
            <a:endParaRPr lang="en-ZA" sz="21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0974081"/>
              </p:ext>
            </p:extLst>
          </p:nvPr>
        </p:nvGraphicFramePr>
        <p:xfrm>
          <a:off x="299259" y="1310116"/>
          <a:ext cx="8273242" cy="1015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8" name="Picture 4" descr="GISRS insigni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182" y="93605"/>
            <a:ext cx="1272143" cy="627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1853435" y="913142"/>
            <a:ext cx="5939747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350" dirty="0"/>
              <a:t>Primary global mechanism and resource for </a:t>
            </a:r>
            <a:r>
              <a:rPr lang="en-GB" sz="1350" b="1" dirty="0"/>
              <a:t>surveillance</a:t>
            </a:r>
            <a:r>
              <a:rPr lang="en-GB" sz="1350" dirty="0"/>
              <a:t> and </a:t>
            </a:r>
            <a:r>
              <a:rPr lang="en-GB" sz="1350" b="1" dirty="0"/>
              <a:t>control</a:t>
            </a:r>
            <a:r>
              <a:rPr lang="en-GB" sz="1350" dirty="0"/>
              <a:t> of influenza</a:t>
            </a:r>
            <a:endParaRPr lang="en-ZA" sz="1350" dirty="0"/>
          </a:p>
        </p:txBody>
      </p:sp>
      <p:sp>
        <p:nvSpPr>
          <p:cNvPr id="6" name="Right Arrow 5"/>
          <p:cNvSpPr/>
          <p:nvPr/>
        </p:nvSpPr>
        <p:spPr>
          <a:xfrm>
            <a:off x="1346661" y="966073"/>
            <a:ext cx="448888" cy="1678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 dirty="0"/>
          </a:p>
        </p:txBody>
      </p:sp>
      <p:sp>
        <p:nvSpPr>
          <p:cNvPr id="3" name="Rectangle 2"/>
          <p:cNvSpPr/>
          <p:nvPr/>
        </p:nvSpPr>
        <p:spPr>
          <a:xfrm>
            <a:off x="299258" y="2837468"/>
            <a:ext cx="418968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Influenza surveillance in hum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nitor evolution of circulating influenza viruses and detect emergence of novel influenza viruses with pandemic potent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O GISRS established in 195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C94B0-88FF-86EC-ED76-D1B9BAFB8613}"/>
              </a:ext>
            </a:extLst>
          </p:cNvPr>
          <p:cNvSpPr txBox="1"/>
          <p:nvPr/>
        </p:nvSpPr>
        <p:spPr>
          <a:xfrm>
            <a:off x="5598944" y="4826063"/>
            <a:ext cx="36013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100" dirty="0">
                <a:hlinkClick r:id="rId8"/>
              </a:rPr>
              <a:t>Global Influenza Surveillance and Response System (GISRS)</a:t>
            </a:r>
            <a:endParaRPr lang="en-ZA" sz="1100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0EB486DD-8314-B755-C0E1-420EADC7C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5060" y="2422232"/>
            <a:ext cx="3476631" cy="245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8432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774" y="1"/>
            <a:ext cx="7886700" cy="994172"/>
          </a:xfrm>
        </p:spPr>
        <p:txBody>
          <a:bodyPr/>
          <a:lstStyle/>
          <a:p>
            <a:r>
              <a:rPr lang="en-GB" dirty="0"/>
              <a:t>Migratory bird flyways</a:t>
            </a:r>
            <a:endParaRPr lang="en-ZA" dirty="0"/>
          </a:p>
        </p:txBody>
      </p:sp>
      <p:pic>
        <p:nvPicPr>
          <p:cNvPr id="1026" name="Picture 2" descr="Pathogen and routes of incursion for avian influenza - Scottish wild 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84041"/>
            <a:ext cx="4355015" cy="2795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World Flyway Ma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8166" y="1312810"/>
            <a:ext cx="4511230" cy="2537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52560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E1F01-7942-AE2E-5AFD-272E51405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9976"/>
            <a:ext cx="8229600" cy="857250"/>
          </a:xfrm>
        </p:spPr>
        <p:txBody>
          <a:bodyPr>
            <a:normAutofit/>
          </a:bodyPr>
          <a:lstStyle/>
          <a:p>
            <a:r>
              <a:rPr lang="en-GB" sz="2400" dirty="0"/>
              <a:t>Officially reported HPAI outbreaks (H5Nx and H7Nx subtypes) in sub-Saharan Africa, by onset date (1 October 2024 to date)</a:t>
            </a:r>
            <a:endParaRPr lang="en-ZA" sz="2400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79B60364-1F61-E2A4-4F7C-EDD8D83D848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96" y="1312692"/>
            <a:ext cx="4519358" cy="339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7CD83B5-2833-BC31-A066-13558D9AD10E}"/>
              </a:ext>
            </a:extLst>
          </p:cNvPr>
          <p:cNvSpPr txBox="1"/>
          <p:nvPr/>
        </p:nvSpPr>
        <p:spPr>
          <a:xfrm>
            <a:off x="2165350" y="4822308"/>
            <a:ext cx="552860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050" dirty="0"/>
              <a:t>https://www.fao.org/animal-health/situation-updates/sub-saharan-africa-hpai/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D32807-A9BA-02DC-8425-053B07A5B487}"/>
              </a:ext>
            </a:extLst>
          </p:cNvPr>
          <p:cNvSpPr txBox="1"/>
          <p:nvPr/>
        </p:nvSpPr>
        <p:spPr>
          <a:xfrm>
            <a:off x="0" y="2912797"/>
            <a:ext cx="195540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b="0" i="0" dirty="0">
                <a:solidFill>
                  <a:srgbClr val="545454"/>
                </a:solidFill>
                <a:effectLst/>
                <a:latin typeface="+mj-lt"/>
              </a:rPr>
              <a:t>HPAI events: 1 October 2023 to 30 September 2024</a:t>
            </a:r>
            <a:endParaRPr lang="en-ZA" sz="1000" dirty="0"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3C673C-E6D9-A226-6AB5-EEBA335C55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2473" y="1257300"/>
            <a:ext cx="4208105" cy="339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8016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4ACEC-A9CD-4DCA-11C2-D9B111D2A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do we prepare for the next pandemic?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4A3A8B-9391-D6A6-CD59-4E912612AB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896" y="1355909"/>
            <a:ext cx="8454788" cy="2674485"/>
          </a:xfrm>
        </p:spPr>
        <p:txBody>
          <a:bodyPr>
            <a:normAutofit/>
          </a:bodyPr>
          <a:lstStyle/>
          <a:p>
            <a:r>
              <a:rPr lang="en-GB" sz="2200" dirty="0"/>
              <a:t>Close collaboration with the animal health and environment sectors</a:t>
            </a:r>
          </a:p>
          <a:p>
            <a:r>
              <a:rPr lang="en-GB" sz="2200" dirty="0"/>
              <a:t>Surveillance for human infections with avian influenza A viruses</a:t>
            </a:r>
          </a:p>
          <a:p>
            <a:r>
              <a:rPr lang="en-GB" sz="2200" dirty="0"/>
              <a:t>Vigilance for the emergence of novel influenza viruses of pandemic potential </a:t>
            </a:r>
          </a:p>
          <a:p>
            <a:r>
              <a:rPr lang="en-GB" sz="2200" dirty="0"/>
              <a:t>Characterise influenza viruses from animals or from people timeously </a:t>
            </a:r>
          </a:p>
          <a:p>
            <a:r>
              <a:rPr lang="en-GB" sz="2200" dirty="0"/>
              <a:t>Share data and influenza viruses on a timely basis</a:t>
            </a:r>
            <a:endParaRPr lang="en-ZA" sz="2200" dirty="0"/>
          </a:p>
        </p:txBody>
      </p:sp>
    </p:spTree>
    <p:extLst>
      <p:ext uri="{BB962C8B-B14F-4D97-AF65-F5344CB8AC3E}">
        <p14:creationId xmlns:p14="http://schemas.microsoft.com/office/powerpoint/2010/main" val="14923473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1015" y="133645"/>
            <a:ext cx="8270632" cy="641251"/>
          </a:xfrm>
        </p:spPr>
        <p:txBody>
          <a:bodyPr>
            <a:noAutofit/>
          </a:bodyPr>
          <a:lstStyle/>
          <a:p>
            <a:pPr algn="ctr"/>
            <a:r>
              <a:rPr lang="en-US" sz="2400" b="1" dirty="0">
                <a:latin typeface="+mn-lt"/>
              </a:rPr>
              <a:t>Vet Watch: Sentinel surveillance for avian influenza in humans exposed to wild birds or poultry, South Africa </a:t>
            </a:r>
            <a:endParaRPr lang="en-ZA" sz="3200" b="1" dirty="0"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17231" y="1114279"/>
            <a:ext cx="9026769" cy="3605432"/>
          </a:xfrm>
        </p:spPr>
        <p:txBody>
          <a:bodyPr>
            <a:noAutofit/>
          </a:bodyPr>
          <a:lstStyle/>
          <a:p>
            <a:r>
              <a:rPr lang="en-GB" sz="2000" dirty="0"/>
              <a:t>Sites close to poultry farms and wild bird treatment centres </a:t>
            </a:r>
          </a:p>
          <a:p>
            <a:pPr lvl="1"/>
            <a:r>
              <a:rPr lang="en-GB" sz="2000" dirty="0"/>
              <a:t>Veterinary practices, provincial animal health services, clinics/GPs providing services to poultry farm workers</a:t>
            </a:r>
          </a:p>
          <a:p>
            <a:pPr lvl="1"/>
            <a:r>
              <a:rPr lang="en-GB" sz="2000" dirty="0"/>
              <a:t>Continual surveillance even in absence of outbreaks</a:t>
            </a:r>
            <a:r>
              <a:rPr lang="en-US" sz="2000" dirty="0"/>
              <a:t> </a:t>
            </a:r>
          </a:p>
          <a:p>
            <a:r>
              <a:rPr lang="en-GB" sz="2000" dirty="0"/>
              <a:t>Case definition: conjunctivitis, cough, fever, myalgia, chest pain, difficulty breathing</a:t>
            </a:r>
          </a:p>
          <a:p>
            <a:r>
              <a:rPr lang="en-GB" sz="2000" dirty="0"/>
              <a:t>Online case investigation form, self-collected nasal swab sent to NICD</a:t>
            </a:r>
          </a:p>
          <a:p>
            <a:r>
              <a:rPr lang="en-US" sz="2000" dirty="0"/>
              <a:t>Specimens tested by multiplex </a:t>
            </a:r>
            <a:r>
              <a:rPr lang="en-US" sz="2000" dirty="0" err="1"/>
              <a:t>rRT</a:t>
            </a:r>
            <a:r>
              <a:rPr lang="en-US" sz="2000" dirty="0"/>
              <a:t>-PCR and WGS</a:t>
            </a:r>
          </a:p>
          <a:p>
            <a:pPr lvl="1"/>
            <a:r>
              <a:rPr lang="en-US" sz="2000" dirty="0"/>
              <a:t>Identify and </a:t>
            </a:r>
            <a:r>
              <a:rPr lang="en-US" sz="2000" dirty="0" err="1"/>
              <a:t>characterise</a:t>
            </a:r>
            <a:r>
              <a:rPr lang="en-US" sz="2000" dirty="0"/>
              <a:t> influenza viruses</a:t>
            </a:r>
          </a:p>
          <a:p>
            <a:pPr lvl="1"/>
            <a:r>
              <a:rPr lang="en-US" sz="2000" dirty="0"/>
              <a:t>Identify novel or emerging pathogens </a:t>
            </a:r>
          </a:p>
          <a:p>
            <a:r>
              <a:rPr lang="en-GB" sz="2000" dirty="0"/>
              <a:t>S</a:t>
            </a:r>
            <a:r>
              <a:rPr lang="en-US" sz="2000" dirty="0" err="1"/>
              <a:t>erosurveys</a:t>
            </a:r>
            <a:r>
              <a:rPr lang="en-US" sz="2000" dirty="0"/>
              <a:t> conducted during/after outbreaks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2487" y="3292243"/>
            <a:ext cx="1341120" cy="173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1825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E11BB-9175-7B53-016F-76FC6B4A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92" y="89599"/>
            <a:ext cx="7886700" cy="994172"/>
          </a:xfrm>
        </p:spPr>
        <p:txBody>
          <a:bodyPr/>
          <a:lstStyle/>
          <a:p>
            <a:r>
              <a:rPr lang="en-GB" dirty="0"/>
              <a:t>Emerging virus detection methods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E8FB63-7450-2A56-930D-5100839174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7434" y="1219360"/>
            <a:ext cx="6086901" cy="3548952"/>
          </a:xfrm>
        </p:spPr>
        <p:txBody>
          <a:bodyPr>
            <a:noAutofit/>
          </a:bodyPr>
          <a:lstStyle/>
          <a:p>
            <a:r>
              <a:rPr lang="en-GB" sz="1800" dirty="0"/>
              <a:t>Target capture sequencing methods</a:t>
            </a:r>
          </a:p>
          <a:p>
            <a:pPr lvl="1"/>
            <a:r>
              <a:rPr lang="en-GB" dirty="0"/>
              <a:t>Capturing certain genomic regions of interest by hybridization to target-specific probes, which are then isolated and sequenced with next-generation sequencing </a:t>
            </a:r>
          </a:p>
          <a:p>
            <a:pPr lvl="1"/>
            <a:r>
              <a:rPr lang="en-GB" dirty="0" err="1"/>
              <a:t>VirCapSeq</a:t>
            </a:r>
            <a:endParaRPr lang="en-GB" dirty="0"/>
          </a:p>
          <a:p>
            <a:pPr lvl="1"/>
            <a:r>
              <a:rPr lang="en-GB" dirty="0"/>
              <a:t>Illumina kits – RPIP, VSP</a:t>
            </a:r>
          </a:p>
          <a:p>
            <a:r>
              <a:rPr lang="en-GB" sz="1800" dirty="0"/>
              <a:t>Metagenomic sequencing</a:t>
            </a:r>
          </a:p>
          <a:p>
            <a:pPr lvl="1"/>
            <a:r>
              <a:rPr lang="en-GB" dirty="0"/>
              <a:t>Untargeted (unbiased) sequencing of all nucleic acids in a sample</a:t>
            </a:r>
          </a:p>
          <a:p>
            <a:pPr lvl="1"/>
            <a:r>
              <a:rPr lang="en-GB" dirty="0"/>
              <a:t>Detects unknown or novel viruses without prior knowledge of the sequence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ZA" dirty="0"/>
          </a:p>
        </p:txBody>
      </p:sp>
      <p:pic>
        <p:nvPicPr>
          <p:cNvPr id="5122" name="Picture 2" descr="Cartoon showing the workflow for NGS Target Capture with hybridization probes. ">
            <a:extLst>
              <a:ext uri="{FF2B5EF4-FFF2-40B4-BE49-F238E27FC236}">
                <a16:creationId xmlns:a16="http://schemas.microsoft.com/office/drawing/2014/main" id="{E16A012D-CACF-EC90-37D8-4AE56CC94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335" y="90923"/>
            <a:ext cx="2274698" cy="4962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6349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182871"/>
            <a:ext cx="7886700" cy="994172"/>
          </a:xfrm>
        </p:spPr>
        <p:txBody>
          <a:bodyPr/>
          <a:lstStyle/>
          <a:p>
            <a:r>
              <a:rPr lang="en-GB" dirty="0"/>
              <a:t>Respiratory Virus Network in Africa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103" y="1177042"/>
            <a:ext cx="8334822" cy="282955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Aim:</a:t>
            </a:r>
          </a:p>
          <a:p>
            <a:pPr marL="0" indent="0">
              <a:buNone/>
            </a:pPr>
            <a:r>
              <a:rPr lang="en-GB" dirty="0"/>
              <a:t>To establish a regional network of laboratories in sub-Saharan Africa that can serve as a resource for </a:t>
            </a:r>
          </a:p>
          <a:p>
            <a:pPr lvl="1"/>
            <a:r>
              <a:rPr lang="en-GB" dirty="0"/>
              <a:t>Genomic surveillance, </a:t>
            </a:r>
          </a:p>
          <a:p>
            <a:pPr lvl="1"/>
            <a:r>
              <a:rPr lang="en-GB" dirty="0"/>
              <a:t>Diagnostic expertise and </a:t>
            </a:r>
          </a:p>
          <a:p>
            <a:pPr lvl="1"/>
            <a:r>
              <a:rPr lang="en-GB" dirty="0"/>
              <a:t>Research </a:t>
            </a:r>
          </a:p>
          <a:p>
            <a:pPr marL="0" indent="0">
              <a:buNone/>
            </a:pPr>
            <a:r>
              <a:rPr lang="en-GB" dirty="0"/>
              <a:t>in the field of respiratory viruses on the continent, and thereby improve our ability to rapidly detect and respond to outbreaks. </a:t>
            </a:r>
          </a:p>
          <a:p>
            <a:pPr marL="0" indent="0">
              <a:buNone/>
            </a:pPr>
            <a:r>
              <a:rPr lang="en-GB" dirty="0"/>
              <a:t> 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870574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A660C-DFC6-7497-B665-E4BD05460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116" y="14537"/>
            <a:ext cx="7886700" cy="994172"/>
          </a:xfrm>
        </p:spPr>
        <p:txBody>
          <a:bodyPr/>
          <a:lstStyle/>
          <a:p>
            <a:r>
              <a:rPr lang="en-GB" dirty="0"/>
              <a:t>What do we hope to achieve this week?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BFE74F-1C80-85A4-FF58-0376AADB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006" y="1307804"/>
            <a:ext cx="8959755" cy="3263504"/>
          </a:xfrm>
        </p:spPr>
        <p:txBody>
          <a:bodyPr>
            <a:normAutofit lnSpcReduction="10000"/>
          </a:bodyPr>
          <a:lstStyle/>
          <a:p>
            <a:r>
              <a:rPr lang="en-GB" dirty="0"/>
              <a:t>Build relationships and networks</a:t>
            </a:r>
          </a:p>
          <a:p>
            <a:r>
              <a:rPr lang="en-GB" dirty="0"/>
              <a:t>Share experiences, challenges and lessons learnt</a:t>
            </a:r>
          </a:p>
          <a:p>
            <a:pPr lvl="1"/>
            <a:r>
              <a:rPr lang="en-GB" dirty="0"/>
              <a:t>Overview of sentinel surveillance systems for respiratory illness</a:t>
            </a:r>
          </a:p>
          <a:p>
            <a:pPr lvl="1"/>
            <a:r>
              <a:rPr lang="en-GB" dirty="0"/>
              <a:t>Lab capacity, testing and sequencing algorithms</a:t>
            </a:r>
          </a:p>
          <a:p>
            <a:pPr lvl="1"/>
            <a:r>
              <a:rPr lang="en-GB" dirty="0"/>
              <a:t>Animal and zoonotic surveillance in your country and region</a:t>
            </a:r>
          </a:p>
          <a:p>
            <a:pPr lvl="1"/>
            <a:r>
              <a:rPr lang="en-GB" dirty="0"/>
              <a:t>One Health collaborations in your country and region        </a:t>
            </a:r>
          </a:p>
          <a:p>
            <a:r>
              <a:rPr lang="en-GB" dirty="0"/>
              <a:t>Understanding barriers to timely information sharing (political, technical, financial)</a:t>
            </a:r>
          </a:p>
          <a:p>
            <a:r>
              <a:rPr lang="en-GB" dirty="0"/>
              <a:t>Suggestions on how we can improve collaborations and pandemic preparedness within our network</a:t>
            </a:r>
          </a:p>
          <a:p>
            <a:endParaRPr lang="en-ZA" dirty="0"/>
          </a:p>
        </p:txBody>
      </p:sp>
      <p:pic>
        <p:nvPicPr>
          <p:cNvPr id="6148" name="Picture 4" descr="Building Relationships at Work ...">
            <a:extLst>
              <a:ext uri="{FF2B5EF4-FFF2-40B4-BE49-F238E27FC236}">
                <a16:creationId xmlns:a16="http://schemas.microsoft.com/office/drawing/2014/main" id="{D69C4CBB-D496-FFA9-BB45-E809C259D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338" y="960450"/>
            <a:ext cx="2159474" cy="161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79079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2965B-40E2-D0D9-3E69-696DF8E88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ed names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CC7B9D-5881-6C6E-9A5D-CBA0501347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/>
              <a:t>Respiratory Virus Network Africa (ReViNA)</a:t>
            </a:r>
          </a:p>
          <a:p>
            <a:r>
              <a:rPr lang="en-GB" dirty="0"/>
              <a:t>Respiratory Pathogen Network Africa (</a:t>
            </a:r>
            <a:r>
              <a:rPr lang="en-GB" dirty="0" err="1"/>
              <a:t>RespNet</a:t>
            </a:r>
            <a:r>
              <a:rPr lang="en-GB" dirty="0"/>
              <a:t>-Africa)</a:t>
            </a:r>
            <a:endParaRPr lang="en-ZA" dirty="0"/>
          </a:p>
          <a:p>
            <a:endParaRPr lang="en-ZA" dirty="0"/>
          </a:p>
        </p:txBody>
      </p:sp>
      <p:pic>
        <p:nvPicPr>
          <p:cNvPr id="5" name="Picture 4" descr="A logo with text overlay&#10;&#10;AI-generated content may be incorrect.">
            <a:extLst>
              <a:ext uri="{FF2B5EF4-FFF2-40B4-BE49-F238E27FC236}">
                <a16:creationId xmlns:a16="http://schemas.microsoft.com/office/drawing/2014/main" id="{076339C0-EEAE-FADE-73FC-F178DF8EE7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425" y="2571750"/>
            <a:ext cx="3175237" cy="2116825"/>
          </a:xfrm>
          <a:prstGeom prst="rect">
            <a:avLst/>
          </a:prstGeom>
        </p:spPr>
      </p:pic>
      <p:pic>
        <p:nvPicPr>
          <p:cNvPr id="7170" name="Picture 2" descr="Generated image">
            <a:extLst>
              <a:ext uri="{FF2B5EF4-FFF2-40B4-BE49-F238E27FC236}">
                <a16:creationId xmlns:a16="http://schemas.microsoft.com/office/drawing/2014/main" id="{1BFCEA10-5C10-A9FE-08CD-375DDD0705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763" y="2700143"/>
            <a:ext cx="2812292" cy="1874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90806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1928" y="206306"/>
            <a:ext cx="8424644" cy="661955"/>
          </a:xfrm>
        </p:spPr>
        <p:txBody>
          <a:bodyPr>
            <a:normAutofit/>
          </a:bodyPr>
          <a:lstStyle/>
          <a:p>
            <a:r>
              <a:rPr lang="en-GB" sz="3600" dirty="0"/>
              <a:t>Respiratory Virus Genomic Collaboration</a:t>
            </a:r>
            <a:endParaRPr lang="en-ZA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1634" y="956094"/>
            <a:ext cx="8075453" cy="2296487"/>
          </a:xfrm>
        </p:spPr>
        <p:txBody>
          <a:bodyPr>
            <a:noAutofit/>
          </a:bodyPr>
          <a:lstStyle/>
          <a:p>
            <a:pPr algn="l"/>
            <a:r>
              <a:rPr lang="en-GB" sz="1200" dirty="0"/>
              <a:t>Partners: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GB" sz="1200" dirty="0"/>
              <a:t>National Institute for Communicable Diseases, Johannesburg, South Africa </a:t>
            </a:r>
            <a:r>
              <a:rPr lang="en-GB" sz="1200" dirty="0">
                <a:solidFill>
                  <a:srgbClr val="00B050"/>
                </a:solidFill>
              </a:rPr>
              <a:t>(CRDM = NIC)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GB" sz="1200" dirty="0"/>
              <a:t>Noguchi Memorial Institute for Medical Research (</a:t>
            </a:r>
            <a:r>
              <a:rPr lang="en-ZA" sz="1200" dirty="0"/>
              <a:t>NMIMR)</a:t>
            </a:r>
            <a:r>
              <a:rPr lang="en-GB" sz="1200" dirty="0"/>
              <a:t>, Accra, Ghana </a:t>
            </a:r>
            <a:r>
              <a:rPr lang="en-GB" sz="1200" dirty="0">
                <a:solidFill>
                  <a:srgbClr val="00B050"/>
                </a:solidFill>
              </a:rPr>
              <a:t>(National Influenza Laboratory = NIC)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GB" sz="1200" dirty="0" err="1"/>
              <a:t>Institut</a:t>
            </a:r>
            <a:r>
              <a:rPr lang="en-GB" sz="1200" dirty="0"/>
              <a:t> Pasteur de Madagascar (IPM), Antananarivo, Madagascar </a:t>
            </a:r>
            <a:r>
              <a:rPr lang="en-GB" sz="1200" dirty="0">
                <a:solidFill>
                  <a:srgbClr val="00B050"/>
                </a:solidFill>
              </a:rPr>
              <a:t>(National Influenza Laboratory = NIC)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GB" sz="1200" dirty="0"/>
              <a:t>National Public Health Laboratory (NPHL), Nairobi, Kenya </a:t>
            </a:r>
            <a:r>
              <a:rPr lang="en-GB" sz="1200" dirty="0">
                <a:solidFill>
                  <a:srgbClr val="00B050"/>
                </a:solidFill>
              </a:rPr>
              <a:t>(Influenza Laboratory = NIC)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GB" sz="1200" dirty="0"/>
              <a:t>University Teaching Hospital (UTH) </a:t>
            </a:r>
            <a:r>
              <a:rPr lang="en-GB" sz="1200" dirty="0">
                <a:solidFill>
                  <a:srgbClr val="00B050"/>
                </a:solidFill>
              </a:rPr>
              <a:t>(Virology Laboratory = NIC) </a:t>
            </a:r>
            <a:r>
              <a:rPr lang="en-GB" sz="1200" dirty="0"/>
              <a:t>and Zambia National Public Health Reference Laboratory, </a:t>
            </a:r>
            <a:r>
              <a:rPr lang="en-ZA" sz="1200" dirty="0"/>
              <a:t>Lusaka, Zambia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GB" sz="1200" dirty="0"/>
              <a:t>National Institute of Health (INS), Marracuene, Mozambique </a:t>
            </a:r>
            <a:r>
              <a:rPr lang="en-ZA" sz="1200" dirty="0">
                <a:solidFill>
                  <a:srgbClr val="00B050"/>
                </a:solidFill>
              </a:rPr>
              <a:t>(Virology Laboratory=NIC)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GB" sz="1200" dirty="0"/>
              <a:t>US </a:t>
            </a:r>
            <a:r>
              <a:rPr lang="en-GB" sz="1200" dirty="0" err="1"/>
              <a:t>Centers</a:t>
            </a:r>
            <a:r>
              <a:rPr lang="en-GB" sz="1200" dirty="0"/>
              <a:t> for Disease Control and Prevention (CDC) , Atlanta, USA</a:t>
            </a:r>
            <a:endParaRPr lang="en-ZA" sz="1200" dirty="0"/>
          </a:p>
          <a:p>
            <a:pPr marL="342900" indent="-342900" algn="l">
              <a:buFont typeface="+mj-lt"/>
              <a:buAutoNum type="arabicPeriod"/>
            </a:pPr>
            <a:endParaRPr lang="en-GB" sz="1200" dirty="0"/>
          </a:p>
          <a:p>
            <a:pPr marL="342900" indent="-342900" algn="l">
              <a:buFont typeface="+mj-lt"/>
              <a:buAutoNum type="arabicPeriod"/>
            </a:pPr>
            <a:endParaRPr lang="en-ZA" sz="12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490B2C3-E3EC-65C9-2D33-E5621B795007}"/>
              </a:ext>
            </a:extLst>
          </p:cNvPr>
          <p:cNvGrpSpPr>
            <a:grpSpLocks noChangeAspect="1"/>
          </p:cNvGrpSpPr>
          <p:nvPr/>
        </p:nvGrpSpPr>
        <p:grpSpPr>
          <a:xfrm>
            <a:off x="6263173" y="2484275"/>
            <a:ext cx="2555792" cy="2513225"/>
            <a:chOff x="164597" y="939560"/>
            <a:chExt cx="5113534" cy="5028366"/>
          </a:xfrm>
        </p:grpSpPr>
        <p:sp>
          <p:nvSpPr>
            <p:cNvPr id="8" name="Freeform 1">
              <a:extLst>
                <a:ext uri="{FF2B5EF4-FFF2-40B4-BE49-F238E27FC236}">
                  <a16:creationId xmlns:a16="http://schemas.microsoft.com/office/drawing/2014/main" id="{D97D60AE-53ED-4F0D-71F5-1F1DC0FA3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615" y="1932056"/>
              <a:ext cx="1233640" cy="136489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1617174170 w 21600"/>
                <a:gd name="T5" fmla="*/ 2147483647 h 21600"/>
                <a:gd name="T6" fmla="*/ 713630612 w 21600"/>
                <a:gd name="T7" fmla="*/ 2147483647 h 21600"/>
                <a:gd name="T8" fmla="*/ 345556357 w 21600"/>
                <a:gd name="T9" fmla="*/ 2147483647 h 21600"/>
                <a:gd name="T10" fmla="*/ 0 w 21600"/>
                <a:gd name="T11" fmla="*/ 2147483647 h 21600"/>
                <a:gd name="T12" fmla="*/ 831100018 w 21600"/>
                <a:gd name="T13" fmla="*/ 2147483647 h 21600"/>
                <a:gd name="T14" fmla="*/ 1366569421 w 21600"/>
                <a:gd name="T15" fmla="*/ 2147483647 h 21600"/>
                <a:gd name="T16" fmla="*/ 2147483647 w 21600"/>
                <a:gd name="T17" fmla="*/ 2147483647 h 21600"/>
                <a:gd name="T18" fmla="*/ 2147483647 w 21600"/>
                <a:gd name="T19" fmla="*/ 2147483647 h 21600"/>
                <a:gd name="T20" fmla="*/ 2147483647 w 21600"/>
                <a:gd name="T21" fmla="*/ 2147483647 h 21600"/>
                <a:gd name="T22" fmla="*/ 2147483647 w 21600"/>
                <a:gd name="T23" fmla="*/ 2147483647 h 21600"/>
                <a:gd name="T24" fmla="*/ 2147483647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147483647 w 21600"/>
                <a:gd name="T47" fmla="*/ 2147483647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2147483647 w 21600"/>
                <a:gd name="T69" fmla="*/ 2147483647 h 21600"/>
                <a:gd name="T70" fmla="*/ 2147483647 w 21600"/>
                <a:gd name="T71" fmla="*/ 936742078 h 21600"/>
                <a:gd name="T72" fmla="*/ 2147483647 w 21600"/>
                <a:gd name="T73" fmla="*/ 297055580 h 21600"/>
                <a:gd name="T74" fmla="*/ 2147483647 w 21600"/>
                <a:gd name="T75" fmla="*/ 1260802700 h 21600"/>
                <a:gd name="T76" fmla="*/ 2147483647 w 21600"/>
                <a:gd name="T77" fmla="*/ 1819459904 h 21600"/>
                <a:gd name="T78" fmla="*/ 2147483647 w 21600"/>
                <a:gd name="T79" fmla="*/ 1900475030 h 21600"/>
                <a:gd name="T80" fmla="*/ 2147483647 w 21600"/>
                <a:gd name="T81" fmla="*/ 1927480072 h 21600"/>
                <a:gd name="T82" fmla="*/ 2147483647 w 21600"/>
                <a:gd name="T83" fmla="*/ 2033813362 h 216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1600" h="21600">
                  <a:moveTo>
                    <a:pt x="3973" y="1205"/>
                  </a:moveTo>
                  <a:lnTo>
                    <a:pt x="4058" y="3344"/>
                  </a:lnTo>
                  <a:lnTo>
                    <a:pt x="2705" y="3220"/>
                  </a:lnTo>
                  <a:lnTo>
                    <a:pt x="2793" y="5312"/>
                  </a:lnTo>
                  <a:lnTo>
                    <a:pt x="2849" y="8095"/>
                  </a:lnTo>
                  <a:lnTo>
                    <a:pt x="1652" y="8109"/>
                  </a:lnTo>
                  <a:lnTo>
                    <a:pt x="1328" y="8794"/>
                  </a:lnTo>
                  <a:lnTo>
                    <a:pt x="729" y="9321"/>
                  </a:lnTo>
                  <a:lnTo>
                    <a:pt x="883" y="9891"/>
                  </a:lnTo>
                  <a:lnTo>
                    <a:pt x="353" y="10248"/>
                  </a:lnTo>
                  <a:lnTo>
                    <a:pt x="444" y="10800"/>
                  </a:lnTo>
                  <a:lnTo>
                    <a:pt x="0" y="11540"/>
                  </a:lnTo>
                  <a:lnTo>
                    <a:pt x="832" y="11489"/>
                  </a:lnTo>
                  <a:lnTo>
                    <a:pt x="849" y="12248"/>
                  </a:lnTo>
                  <a:lnTo>
                    <a:pt x="1331" y="12956"/>
                  </a:lnTo>
                  <a:lnTo>
                    <a:pt x="1396" y="13456"/>
                  </a:lnTo>
                  <a:lnTo>
                    <a:pt x="1967" y="14118"/>
                  </a:lnTo>
                  <a:lnTo>
                    <a:pt x="2319" y="14747"/>
                  </a:lnTo>
                  <a:lnTo>
                    <a:pt x="2231" y="15847"/>
                  </a:lnTo>
                  <a:lnTo>
                    <a:pt x="3072" y="15910"/>
                  </a:lnTo>
                  <a:lnTo>
                    <a:pt x="3513" y="16387"/>
                  </a:lnTo>
                  <a:lnTo>
                    <a:pt x="4543" y="16776"/>
                  </a:lnTo>
                  <a:lnTo>
                    <a:pt x="4716" y="17384"/>
                  </a:lnTo>
                  <a:lnTo>
                    <a:pt x="5548" y="17705"/>
                  </a:lnTo>
                  <a:lnTo>
                    <a:pt x="6160" y="18491"/>
                  </a:lnTo>
                  <a:lnTo>
                    <a:pt x="6640" y="18987"/>
                  </a:lnTo>
                  <a:lnTo>
                    <a:pt x="7244" y="19462"/>
                  </a:lnTo>
                  <a:lnTo>
                    <a:pt x="7699" y="20021"/>
                  </a:lnTo>
                  <a:lnTo>
                    <a:pt x="8441" y="20752"/>
                  </a:lnTo>
                  <a:lnTo>
                    <a:pt x="9478" y="20586"/>
                  </a:lnTo>
                  <a:lnTo>
                    <a:pt x="10278" y="20784"/>
                  </a:lnTo>
                  <a:lnTo>
                    <a:pt x="10860" y="20528"/>
                  </a:lnTo>
                  <a:lnTo>
                    <a:pt x="11289" y="21061"/>
                  </a:lnTo>
                  <a:lnTo>
                    <a:pt x="12306" y="21600"/>
                  </a:lnTo>
                  <a:lnTo>
                    <a:pt x="12911" y="21312"/>
                  </a:lnTo>
                  <a:lnTo>
                    <a:pt x="13774" y="21435"/>
                  </a:lnTo>
                  <a:lnTo>
                    <a:pt x="14869" y="21397"/>
                  </a:lnTo>
                  <a:lnTo>
                    <a:pt x="16058" y="21309"/>
                  </a:lnTo>
                  <a:lnTo>
                    <a:pt x="16910" y="20437"/>
                  </a:lnTo>
                  <a:lnTo>
                    <a:pt x="18810" y="20357"/>
                  </a:lnTo>
                  <a:lnTo>
                    <a:pt x="18823" y="19572"/>
                  </a:lnTo>
                  <a:lnTo>
                    <a:pt x="18074" y="19476"/>
                  </a:lnTo>
                  <a:lnTo>
                    <a:pt x="17511" y="18660"/>
                  </a:lnTo>
                  <a:lnTo>
                    <a:pt x="17300" y="18137"/>
                  </a:lnTo>
                  <a:lnTo>
                    <a:pt x="16647" y="17621"/>
                  </a:lnTo>
                  <a:lnTo>
                    <a:pt x="16040" y="17114"/>
                  </a:lnTo>
                  <a:lnTo>
                    <a:pt x="14926" y="16874"/>
                  </a:lnTo>
                  <a:lnTo>
                    <a:pt x="15240" y="16127"/>
                  </a:lnTo>
                  <a:lnTo>
                    <a:pt x="16360" y="16069"/>
                  </a:lnTo>
                  <a:lnTo>
                    <a:pt x="16360" y="14708"/>
                  </a:lnTo>
                  <a:lnTo>
                    <a:pt x="16846" y="13563"/>
                  </a:lnTo>
                  <a:lnTo>
                    <a:pt x="17601" y="13269"/>
                  </a:lnTo>
                  <a:lnTo>
                    <a:pt x="17646" y="12277"/>
                  </a:lnTo>
                  <a:lnTo>
                    <a:pt x="18298" y="11380"/>
                  </a:lnTo>
                  <a:lnTo>
                    <a:pt x="18964" y="11140"/>
                  </a:lnTo>
                  <a:lnTo>
                    <a:pt x="19105" y="10489"/>
                  </a:lnTo>
                  <a:lnTo>
                    <a:pt x="19322" y="9456"/>
                  </a:lnTo>
                  <a:lnTo>
                    <a:pt x="19245" y="8634"/>
                  </a:lnTo>
                  <a:lnTo>
                    <a:pt x="19463" y="7897"/>
                  </a:lnTo>
                  <a:lnTo>
                    <a:pt x="19565" y="7141"/>
                  </a:lnTo>
                  <a:lnTo>
                    <a:pt x="19604" y="6528"/>
                  </a:lnTo>
                  <a:lnTo>
                    <a:pt x="20320" y="6474"/>
                  </a:lnTo>
                  <a:lnTo>
                    <a:pt x="20365" y="5925"/>
                  </a:lnTo>
                  <a:lnTo>
                    <a:pt x="21178" y="5967"/>
                  </a:lnTo>
                  <a:lnTo>
                    <a:pt x="21600" y="5380"/>
                  </a:lnTo>
                  <a:lnTo>
                    <a:pt x="20941" y="4938"/>
                  </a:lnTo>
                  <a:lnTo>
                    <a:pt x="20250" y="4389"/>
                  </a:lnTo>
                  <a:lnTo>
                    <a:pt x="19789" y="3536"/>
                  </a:lnTo>
                  <a:lnTo>
                    <a:pt x="19591" y="2847"/>
                  </a:lnTo>
                  <a:lnTo>
                    <a:pt x="19348" y="1825"/>
                  </a:lnTo>
                  <a:lnTo>
                    <a:pt x="19053" y="987"/>
                  </a:lnTo>
                  <a:lnTo>
                    <a:pt x="18369" y="555"/>
                  </a:lnTo>
                  <a:lnTo>
                    <a:pt x="17249" y="0"/>
                  </a:lnTo>
                  <a:lnTo>
                    <a:pt x="16545" y="176"/>
                  </a:lnTo>
                  <a:lnTo>
                    <a:pt x="16270" y="736"/>
                  </a:lnTo>
                  <a:lnTo>
                    <a:pt x="15508" y="747"/>
                  </a:lnTo>
                  <a:lnTo>
                    <a:pt x="15093" y="1297"/>
                  </a:lnTo>
                  <a:lnTo>
                    <a:pt x="14498" y="1078"/>
                  </a:lnTo>
                  <a:lnTo>
                    <a:pt x="12821" y="1099"/>
                  </a:lnTo>
                  <a:lnTo>
                    <a:pt x="10674" y="1126"/>
                  </a:lnTo>
                  <a:lnTo>
                    <a:pt x="7315" y="1110"/>
                  </a:lnTo>
                  <a:lnTo>
                    <a:pt x="5539" y="1142"/>
                  </a:lnTo>
                  <a:lnTo>
                    <a:pt x="3973" y="1205"/>
                  </a:lnTo>
                  <a:close/>
                  <a:moveTo>
                    <a:pt x="3973" y="1205"/>
                  </a:moveTo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 2">
              <a:extLst>
                <a:ext uri="{FF2B5EF4-FFF2-40B4-BE49-F238E27FC236}">
                  <a16:creationId xmlns:a16="http://schemas.microsoft.com/office/drawing/2014/main" id="{E42FBF9F-D43A-8B7F-2406-17E1BB999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285" y="1889931"/>
              <a:ext cx="1177026" cy="815567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1828516911 h 21600"/>
                <a:gd name="T14" fmla="*/ 2147483647 w 21600"/>
                <a:gd name="T15" fmla="*/ 1494358152 h 21600"/>
                <a:gd name="T16" fmla="*/ 2147483647 w 21600"/>
                <a:gd name="T17" fmla="*/ 1050731502 h 21600"/>
                <a:gd name="T18" fmla="*/ 2147483647 w 21600"/>
                <a:gd name="T19" fmla="*/ 440022947 h 21600"/>
                <a:gd name="T20" fmla="*/ 2147483647 w 21600"/>
                <a:gd name="T21" fmla="*/ 633029336 h 21600"/>
                <a:gd name="T22" fmla="*/ 2147483647 w 21600"/>
                <a:gd name="T23" fmla="*/ 366207491 h 21600"/>
                <a:gd name="T24" fmla="*/ 2147483647 w 21600"/>
                <a:gd name="T25" fmla="*/ 173560447 h 21600"/>
                <a:gd name="T26" fmla="*/ 2147483647 w 21600"/>
                <a:gd name="T27" fmla="*/ 0 h 21600"/>
                <a:gd name="T28" fmla="*/ 2147483647 w 21600"/>
                <a:gd name="T29" fmla="*/ 285549025 h 21600"/>
                <a:gd name="T30" fmla="*/ 2147483647 w 21600"/>
                <a:gd name="T31" fmla="*/ 710807842 h 21600"/>
                <a:gd name="T32" fmla="*/ 2147483647 w 21600"/>
                <a:gd name="T33" fmla="*/ 1209168545 h 21600"/>
                <a:gd name="T34" fmla="*/ 2147483647 w 21600"/>
                <a:gd name="T35" fmla="*/ 1674397213 h 21600"/>
                <a:gd name="T36" fmla="*/ 2147483647 w 21600"/>
                <a:gd name="T37" fmla="*/ 2127387489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147483647 w 21600"/>
                <a:gd name="T47" fmla="*/ 2147483647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1299158532 w 21600"/>
                <a:gd name="T53" fmla="*/ 2147483647 h 21600"/>
                <a:gd name="T54" fmla="*/ 820477720 w 21600"/>
                <a:gd name="T55" fmla="*/ 2147483647 h 21600"/>
                <a:gd name="T56" fmla="*/ 0 w 21600"/>
                <a:gd name="T57" fmla="*/ 2147483647 h 21600"/>
                <a:gd name="T58" fmla="*/ 34005595 w 21600"/>
                <a:gd name="T59" fmla="*/ 2147483647 h 21600"/>
                <a:gd name="T60" fmla="*/ 838328637 w 21600"/>
                <a:gd name="T61" fmla="*/ 2147483647 h 21600"/>
                <a:gd name="T62" fmla="*/ 952263908 w 21600"/>
                <a:gd name="T63" fmla="*/ 2147483647 h 21600"/>
                <a:gd name="T64" fmla="*/ 1772741722 w 21600"/>
                <a:gd name="T65" fmla="*/ 2147483647 h 21600"/>
                <a:gd name="T66" fmla="*/ 2070319693 w 21600"/>
                <a:gd name="T67" fmla="*/ 2147483647 h 21600"/>
                <a:gd name="T68" fmla="*/ 2147483647 w 21600"/>
                <a:gd name="T69" fmla="*/ 2147483647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2147483647 w 21600"/>
                <a:gd name="T103" fmla="*/ 2147483647 h 21600"/>
                <a:gd name="T104" fmla="*/ 2147483647 w 21600"/>
                <a:gd name="T105" fmla="*/ 2147483647 h 21600"/>
                <a:gd name="T106" fmla="*/ 2147483647 w 21600"/>
                <a:gd name="T107" fmla="*/ 2147483647 h 21600"/>
                <a:gd name="T108" fmla="*/ 2147483647 w 21600"/>
                <a:gd name="T109" fmla="*/ 2147483647 h 21600"/>
                <a:gd name="T110" fmla="*/ 2147483647 w 21600"/>
                <a:gd name="T111" fmla="*/ 2147483647 h 216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1600" h="21600">
                  <a:moveTo>
                    <a:pt x="20983" y="12545"/>
                  </a:moveTo>
                  <a:lnTo>
                    <a:pt x="21057" y="11000"/>
                  </a:lnTo>
                  <a:lnTo>
                    <a:pt x="21184" y="9568"/>
                  </a:lnTo>
                  <a:lnTo>
                    <a:pt x="21178" y="8256"/>
                  </a:lnTo>
                  <a:lnTo>
                    <a:pt x="21372" y="7203"/>
                  </a:lnTo>
                  <a:lnTo>
                    <a:pt x="21600" y="6060"/>
                  </a:lnTo>
                  <a:lnTo>
                    <a:pt x="21332" y="5078"/>
                  </a:lnTo>
                  <a:lnTo>
                    <a:pt x="20829" y="4150"/>
                  </a:lnTo>
                  <a:lnTo>
                    <a:pt x="20661" y="2918"/>
                  </a:lnTo>
                  <a:lnTo>
                    <a:pt x="20534" y="1222"/>
                  </a:lnTo>
                  <a:lnTo>
                    <a:pt x="19482" y="1758"/>
                  </a:lnTo>
                  <a:lnTo>
                    <a:pt x="18677" y="1017"/>
                  </a:lnTo>
                  <a:lnTo>
                    <a:pt x="17638" y="482"/>
                  </a:lnTo>
                  <a:lnTo>
                    <a:pt x="16356" y="0"/>
                  </a:lnTo>
                  <a:lnTo>
                    <a:pt x="15520" y="793"/>
                  </a:lnTo>
                  <a:lnTo>
                    <a:pt x="13999" y="1974"/>
                  </a:lnTo>
                  <a:lnTo>
                    <a:pt x="12149" y="3358"/>
                  </a:lnTo>
                  <a:lnTo>
                    <a:pt x="10565" y="4650"/>
                  </a:lnTo>
                  <a:lnTo>
                    <a:pt x="9332" y="5908"/>
                  </a:lnTo>
                  <a:lnTo>
                    <a:pt x="7998" y="7453"/>
                  </a:lnTo>
                  <a:lnTo>
                    <a:pt x="6737" y="7711"/>
                  </a:lnTo>
                  <a:lnTo>
                    <a:pt x="5609" y="7627"/>
                  </a:lnTo>
                  <a:lnTo>
                    <a:pt x="5609" y="10135"/>
                  </a:lnTo>
                  <a:lnTo>
                    <a:pt x="5583" y="12134"/>
                  </a:lnTo>
                  <a:lnTo>
                    <a:pt x="5236" y="13736"/>
                  </a:lnTo>
                  <a:lnTo>
                    <a:pt x="4512" y="14906"/>
                  </a:lnTo>
                  <a:lnTo>
                    <a:pt x="1528" y="15031"/>
                  </a:lnTo>
                  <a:lnTo>
                    <a:pt x="965" y="15620"/>
                  </a:lnTo>
                  <a:lnTo>
                    <a:pt x="0" y="15530"/>
                  </a:lnTo>
                  <a:lnTo>
                    <a:pt x="40" y="17280"/>
                  </a:lnTo>
                  <a:lnTo>
                    <a:pt x="986" y="18430"/>
                  </a:lnTo>
                  <a:lnTo>
                    <a:pt x="1120" y="19672"/>
                  </a:lnTo>
                  <a:lnTo>
                    <a:pt x="2085" y="20029"/>
                  </a:lnTo>
                  <a:lnTo>
                    <a:pt x="2435" y="20942"/>
                  </a:lnTo>
                  <a:lnTo>
                    <a:pt x="3305" y="20716"/>
                  </a:lnTo>
                  <a:lnTo>
                    <a:pt x="4411" y="21600"/>
                  </a:lnTo>
                  <a:lnTo>
                    <a:pt x="4591" y="20576"/>
                  </a:lnTo>
                  <a:lnTo>
                    <a:pt x="5096" y="19795"/>
                  </a:lnTo>
                  <a:lnTo>
                    <a:pt x="5249" y="18637"/>
                  </a:lnTo>
                  <a:lnTo>
                    <a:pt x="5806" y="18110"/>
                  </a:lnTo>
                  <a:lnTo>
                    <a:pt x="7053" y="17887"/>
                  </a:lnTo>
                  <a:lnTo>
                    <a:pt x="8172" y="18253"/>
                  </a:lnTo>
                  <a:lnTo>
                    <a:pt x="8923" y="19288"/>
                  </a:lnTo>
                  <a:lnTo>
                    <a:pt x="10203" y="18985"/>
                  </a:lnTo>
                  <a:lnTo>
                    <a:pt x="11149" y="19377"/>
                  </a:lnTo>
                  <a:lnTo>
                    <a:pt x="12637" y="19752"/>
                  </a:lnTo>
                  <a:lnTo>
                    <a:pt x="14011" y="18904"/>
                  </a:lnTo>
                  <a:lnTo>
                    <a:pt x="15392" y="18878"/>
                  </a:lnTo>
                  <a:lnTo>
                    <a:pt x="16592" y="19467"/>
                  </a:lnTo>
                  <a:lnTo>
                    <a:pt x="17554" y="18476"/>
                  </a:lnTo>
                  <a:lnTo>
                    <a:pt x="18121" y="17722"/>
                  </a:lnTo>
                  <a:lnTo>
                    <a:pt x="18382" y="16477"/>
                  </a:lnTo>
                  <a:lnTo>
                    <a:pt x="18985" y="15388"/>
                  </a:lnTo>
                  <a:lnTo>
                    <a:pt x="19777" y="14040"/>
                  </a:lnTo>
                  <a:lnTo>
                    <a:pt x="20983" y="12545"/>
                  </a:lnTo>
                  <a:close/>
                  <a:moveTo>
                    <a:pt x="20983" y="12545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6A88106D-1DB4-4539-08DF-AC7B1B727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5021" y="3959179"/>
              <a:ext cx="919523" cy="850953"/>
            </a:xfrm>
            <a:custGeom>
              <a:avLst/>
              <a:gdLst>
                <a:gd name="T0" fmla="*/ 8511948 w 21600"/>
                <a:gd name="T1" fmla="*/ 2147483647 h 21600"/>
                <a:gd name="T2" fmla="*/ 0 w 21600"/>
                <a:gd name="T3" fmla="*/ 2147483647 h 21600"/>
                <a:gd name="T4" fmla="*/ 25541395 w 21600"/>
                <a:gd name="T5" fmla="*/ 2147483647 h 21600"/>
                <a:gd name="T6" fmla="*/ 247285374 w 21600"/>
                <a:gd name="T7" fmla="*/ 2147483647 h 21600"/>
                <a:gd name="T8" fmla="*/ 422410690 w 21600"/>
                <a:gd name="T9" fmla="*/ 2147483647 h 21600"/>
                <a:gd name="T10" fmla="*/ 774288207 w 21600"/>
                <a:gd name="T11" fmla="*/ 2147483647 h 21600"/>
                <a:gd name="T12" fmla="*/ 1154133605 w 21600"/>
                <a:gd name="T13" fmla="*/ 2147483647 h 21600"/>
                <a:gd name="T14" fmla="*/ 1286288278 w 21600"/>
                <a:gd name="T15" fmla="*/ 2147483647 h 21600"/>
                <a:gd name="T16" fmla="*/ 1290746928 w 21600"/>
                <a:gd name="T17" fmla="*/ 2147483647 h 21600"/>
                <a:gd name="T18" fmla="*/ 1064544298 w 21600"/>
                <a:gd name="T19" fmla="*/ 2147483647 h 21600"/>
                <a:gd name="T20" fmla="*/ 829824170 w 21600"/>
                <a:gd name="T21" fmla="*/ 2147483647 h 21600"/>
                <a:gd name="T22" fmla="*/ 667669453 w 21600"/>
                <a:gd name="T23" fmla="*/ 2147483647 h 21600"/>
                <a:gd name="T24" fmla="*/ 1043056201 w 21600"/>
                <a:gd name="T25" fmla="*/ 2147483647 h 21600"/>
                <a:gd name="T26" fmla="*/ 898336209 w 21600"/>
                <a:gd name="T27" fmla="*/ 1807050761 h 21600"/>
                <a:gd name="T28" fmla="*/ 663616155 w 21600"/>
                <a:gd name="T29" fmla="*/ 1360398736 h 21600"/>
                <a:gd name="T30" fmla="*/ 531056130 w 21600"/>
                <a:gd name="T31" fmla="*/ 858121846 h 21600"/>
                <a:gd name="T32" fmla="*/ 267146661 w 21600"/>
                <a:gd name="T33" fmla="*/ 392250402 h 21600"/>
                <a:gd name="T34" fmla="*/ 855365565 w 21600"/>
                <a:gd name="T35" fmla="*/ 150520540 h 21600"/>
                <a:gd name="T36" fmla="*/ 1422907077 w 21600"/>
                <a:gd name="T37" fmla="*/ 68716941 h 21600"/>
                <a:gd name="T38" fmla="*/ 2024496455 w 21600"/>
                <a:gd name="T39" fmla="*/ 56038105 h 21600"/>
                <a:gd name="T40" fmla="*/ 2147483647 w 21600"/>
                <a:gd name="T41" fmla="*/ 0 h 21600"/>
                <a:gd name="T42" fmla="*/ 2147483647 w 21600"/>
                <a:gd name="T43" fmla="*/ 51536332 h 21600"/>
                <a:gd name="T44" fmla="*/ 2147483647 w 21600"/>
                <a:gd name="T45" fmla="*/ 592670793 h 21600"/>
                <a:gd name="T46" fmla="*/ 2147483647 w 21600"/>
                <a:gd name="T47" fmla="*/ 1095355430 h 21600"/>
                <a:gd name="T48" fmla="*/ 2147483647 w 21600"/>
                <a:gd name="T49" fmla="*/ 1584953483 h 21600"/>
                <a:gd name="T50" fmla="*/ 2147483647 w 21600"/>
                <a:gd name="T51" fmla="*/ 1614807435 h 21600"/>
                <a:gd name="T52" fmla="*/ 2147483647 w 21600"/>
                <a:gd name="T53" fmla="*/ 1597632319 h 21600"/>
                <a:gd name="T54" fmla="*/ 2147483647 w 21600"/>
                <a:gd name="T55" fmla="*/ 1559182570 h 21600"/>
                <a:gd name="T56" fmla="*/ 2147483647 w 21600"/>
                <a:gd name="T57" fmla="*/ 890025520 h 21600"/>
                <a:gd name="T58" fmla="*/ 2147483647 w 21600"/>
                <a:gd name="T59" fmla="*/ 910479166 h 21600"/>
                <a:gd name="T60" fmla="*/ 2147483647 w 21600"/>
                <a:gd name="T61" fmla="*/ 979190614 h 21600"/>
                <a:gd name="T62" fmla="*/ 2147483647 w 21600"/>
                <a:gd name="T63" fmla="*/ 1086765125 h 21600"/>
                <a:gd name="T64" fmla="*/ 2147483647 w 21600"/>
                <a:gd name="T65" fmla="*/ 1125214874 h 21600"/>
                <a:gd name="T66" fmla="*/ 2147483647 w 21600"/>
                <a:gd name="T67" fmla="*/ 1928527350 h 21600"/>
                <a:gd name="T68" fmla="*/ 2147483647 w 21600"/>
                <a:gd name="T69" fmla="*/ 2147483647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2147483647 w 21600"/>
                <a:gd name="T103" fmla="*/ 2147483647 h 21600"/>
                <a:gd name="T104" fmla="*/ 2147483647 w 21600"/>
                <a:gd name="T105" fmla="*/ 2147483647 h 21600"/>
                <a:gd name="T106" fmla="*/ 2147483647 w 21600"/>
                <a:gd name="T107" fmla="*/ 2147483647 h 21600"/>
                <a:gd name="T108" fmla="*/ 2147483647 w 21600"/>
                <a:gd name="T109" fmla="*/ 2147483647 h 21600"/>
                <a:gd name="T110" fmla="*/ 1996933850 w 21600"/>
                <a:gd name="T111" fmla="*/ 2147483647 h 21600"/>
                <a:gd name="T112" fmla="*/ 1450874959 w 21600"/>
                <a:gd name="T113" fmla="*/ 2147483647 h 21600"/>
                <a:gd name="T114" fmla="*/ 1118053576 w 21600"/>
                <a:gd name="T115" fmla="*/ 2147483647 h 21600"/>
                <a:gd name="T116" fmla="*/ 750773497 w 21600"/>
                <a:gd name="T117" fmla="*/ 2147483647 h 21600"/>
                <a:gd name="T118" fmla="*/ 8511948 w 21600"/>
                <a:gd name="T119" fmla="*/ 2147483647 h 21600"/>
                <a:gd name="T120" fmla="*/ 8511948 w 21600"/>
                <a:gd name="T121" fmla="*/ 2147483647 h 216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1600" h="21600">
                  <a:moveTo>
                    <a:pt x="21" y="20688"/>
                  </a:moveTo>
                  <a:lnTo>
                    <a:pt x="0" y="19176"/>
                  </a:lnTo>
                  <a:lnTo>
                    <a:pt x="63" y="17927"/>
                  </a:lnTo>
                  <a:lnTo>
                    <a:pt x="610" y="16341"/>
                  </a:lnTo>
                  <a:lnTo>
                    <a:pt x="1042" y="14063"/>
                  </a:lnTo>
                  <a:lnTo>
                    <a:pt x="1910" y="12489"/>
                  </a:lnTo>
                  <a:lnTo>
                    <a:pt x="2847" y="12069"/>
                  </a:lnTo>
                  <a:lnTo>
                    <a:pt x="3173" y="10903"/>
                  </a:lnTo>
                  <a:lnTo>
                    <a:pt x="3184" y="9349"/>
                  </a:lnTo>
                  <a:lnTo>
                    <a:pt x="2626" y="8079"/>
                  </a:lnTo>
                  <a:lnTo>
                    <a:pt x="2047" y="6897"/>
                  </a:lnTo>
                  <a:lnTo>
                    <a:pt x="1647" y="5742"/>
                  </a:lnTo>
                  <a:lnTo>
                    <a:pt x="2573" y="5490"/>
                  </a:lnTo>
                  <a:lnTo>
                    <a:pt x="2216" y="4418"/>
                  </a:lnTo>
                  <a:lnTo>
                    <a:pt x="1637" y="3326"/>
                  </a:lnTo>
                  <a:lnTo>
                    <a:pt x="1310" y="2098"/>
                  </a:lnTo>
                  <a:lnTo>
                    <a:pt x="659" y="959"/>
                  </a:lnTo>
                  <a:lnTo>
                    <a:pt x="2110" y="368"/>
                  </a:lnTo>
                  <a:lnTo>
                    <a:pt x="3510" y="168"/>
                  </a:lnTo>
                  <a:lnTo>
                    <a:pt x="4994" y="137"/>
                  </a:lnTo>
                  <a:lnTo>
                    <a:pt x="6342" y="0"/>
                  </a:lnTo>
                  <a:lnTo>
                    <a:pt x="8047" y="126"/>
                  </a:lnTo>
                  <a:lnTo>
                    <a:pt x="8605" y="1449"/>
                  </a:lnTo>
                  <a:lnTo>
                    <a:pt x="8942" y="2678"/>
                  </a:lnTo>
                  <a:lnTo>
                    <a:pt x="9899" y="3875"/>
                  </a:lnTo>
                  <a:lnTo>
                    <a:pt x="11110" y="3948"/>
                  </a:lnTo>
                  <a:lnTo>
                    <a:pt x="12384" y="3906"/>
                  </a:lnTo>
                  <a:lnTo>
                    <a:pt x="13257" y="3812"/>
                  </a:lnTo>
                  <a:lnTo>
                    <a:pt x="13569" y="2176"/>
                  </a:lnTo>
                  <a:lnTo>
                    <a:pt x="14800" y="2226"/>
                  </a:lnTo>
                  <a:lnTo>
                    <a:pt x="15653" y="2394"/>
                  </a:lnTo>
                  <a:lnTo>
                    <a:pt x="16569" y="2657"/>
                  </a:lnTo>
                  <a:lnTo>
                    <a:pt x="17621" y="2751"/>
                  </a:lnTo>
                  <a:lnTo>
                    <a:pt x="17632" y="4715"/>
                  </a:lnTo>
                  <a:lnTo>
                    <a:pt x="17621" y="6799"/>
                  </a:lnTo>
                  <a:lnTo>
                    <a:pt x="18484" y="7817"/>
                  </a:lnTo>
                  <a:lnTo>
                    <a:pt x="18579" y="9476"/>
                  </a:lnTo>
                  <a:lnTo>
                    <a:pt x="19811" y="9466"/>
                  </a:lnTo>
                  <a:lnTo>
                    <a:pt x="21600" y="9361"/>
                  </a:lnTo>
                  <a:lnTo>
                    <a:pt x="21547" y="11125"/>
                  </a:lnTo>
                  <a:lnTo>
                    <a:pt x="21447" y="12661"/>
                  </a:lnTo>
                  <a:lnTo>
                    <a:pt x="19793" y="12867"/>
                  </a:lnTo>
                  <a:lnTo>
                    <a:pt x="17958" y="12839"/>
                  </a:lnTo>
                  <a:lnTo>
                    <a:pt x="17948" y="15390"/>
                  </a:lnTo>
                  <a:lnTo>
                    <a:pt x="18053" y="17389"/>
                  </a:lnTo>
                  <a:lnTo>
                    <a:pt x="18060" y="18906"/>
                  </a:lnTo>
                  <a:lnTo>
                    <a:pt x="19021" y="19825"/>
                  </a:lnTo>
                  <a:lnTo>
                    <a:pt x="20147" y="21148"/>
                  </a:lnTo>
                  <a:lnTo>
                    <a:pt x="18453" y="21390"/>
                  </a:lnTo>
                  <a:lnTo>
                    <a:pt x="16632" y="21600"/>
                  </a:lnTo>
                  <a:lnTo>
                    <a:pt x="15190" y="21526"/>
                  </a:lnTo>
                  <a:lnTo>
                    <a:pt x="12832" y="21484"/>
                  </a:lnTo>
                  <a:lnTo>
                    <a:pt x="11579" y="20749"/>
                  </a:lnTo>
                  <a:lnTo>
                    <a:pt x="9274" y="20760"/>
                  </a:lnTo>
                  <a:lnTo>
                    <a:pt x="7168" y="20781"/>
                  </a:lnTo>
                  <a:lnTo>
                    <a:pt x="4926" y="20823"/>
                  </a:lnTo>
                  <a:lnTo>
                    <a:pt x="3579" y="20749"/>
                  </a:lnTo>
                  <a:lnTo>
                    <a:pt x="2758" y="19993"/>
                  </a:lnTo>
                  <a:lnTo>
                    <a:pt x="1852" y="20224"/>
                  </a:lnTo>
                  <a:lnTo>
                    <a:pt x="21" y="20688"/>
                  </a:lnTo>
                  <a:close/>
                  <a:moveTo>
                    <a:pt x="21" y="20688"/>
                  </a:moveTo>
                </a:path>
              </a:pathLst>
            </a:custGeom>
            <a:solidFill>
              <a:srgbClr val="FFFF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B623A020-ED55-2493-B2A0-9C9BA0C3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0386" y="2781325"/>
              <a:ext cx="983442" cy="618415"/>
            </a:xfrm>
            <a:custGeom>
              <a:avLst/>
              <a:gdLst>
                <a:gd name="T0" fmla="*/ 1401521049 w 21600"/>
                <a:gd name="T1" fmla="*/ 2147483647 h 21600"/>
                <a:gd name="T2" fmla="*/ 1387135591 w 21600"/>
                <a:gd name="T3" fmla="*/ 2147483647 h 21600"/>
                <a:gd name="T4" fmla="*/ 1018652993 w 21600"/>
                <a:gd name="T5" fmla="*/ 2147483647 h 21600"/>
                <a:gd name="T6" fmla="*/ 645214296 w 21600"/>
                <a:gd name="T7" fmla="*/ 2147483647 h 21600"/>
                <a:gd name="T8" fmla="*/ 596613359 w 21600"/>
                <a:gd name="T9" fmla="*/ 2147483647 h 21600"/>
                <a:gd name="T10" fmla="*/ 208789283 w 21600"/>
                <a:gd name="T11" fmla="*/ 2147483647 h 21600"/>
                <a:gd name="T12" fmla="*/ 208789283 w 21600"/>
                <a:gd name="T13" fmla="*/ 2079784047 h 21600"/>
                <a:gd name="T14" fmla="*/ 0 w 21600"/>
                <a:gd name="T15" fmla="*/ 1900659888 h 21600"/>
                <a:gd name="T16" fmla="*/ 359059493 w 21600"/>
                <a:gd name="T17" fmla="*/ 1724989973 h 21600"/>
                <a:gd name="T18" fmla="*/ 577271960 w 21600"/>
                <a:gd name="T19" fmla="*/ 1540214311 h 21600"/>
                <a:gd name="T20" fmla="*/ 935335214 w 21600"/>
                <a:gd name="T21" fmla="*/ 1286049554 h 21600"/>
                <a:gd name="T22" fmla="*/ 1421357402 w 21600"/>
                <a:gd name="T23" fmla="*/ 1314935482 h 21600"/>
                <a:gd name="T24" fmla="*/ 1809181478 w 21600"/>
                <a:gd name="T25" fmla="*/ 1168465836 h 21600"/>
                <a:gd name="T26" fmla="*/ 2085418144 w 21600"/>
                <a:gd name="T27" fmla="*/ 1330792791 h 21600"/>
                <a:gd name="T28" fmla="*/ 2147483647 w 21600"/>
                <a:gd name="T29" fmla="*/ 1166268686 h 21600"/>
                <a:gd name="T30" fmla="*/ 2147483647 w 21600"/>
                <a:gd name="T31" fmla="*/ 1125765519 h 21600"/>
                <a:gd name="T32" fmla="*/ 2147483647 w 21600"/>
                <a:gd name="T33" fmla="*/ 1096408160 h 21600"/>
                <a:gd name="T34" fmla="*/ 2147483647 w 21600"/>
                <a:gd name="T35" fmla="*/ 972544419 h 21600"/>
                <a:gd name="T36" fmla="*/ 2147483647 w 21600"/>
                <a:gd name="T37" fmla="*/ 738316931 h 21600"/>
                <a:gd name="T38" fmla="*/ 2147483647 w 21600"/>
                <a:gd name="T39" fmla="*/ 722305391 h 21600"/>
                <a:gd name="T40" fmla="*/ 2147483647 w 21600"/>
                <a:gd name="T41" fmla="*/ 557781339 h 21600"/>
                <a:gd name="T42" fmla="*/ 2147483647 w 21600"/>
                <a:gd name="T43" fmla="*/ 283836403 h 21600"/>
                <a:gd name="T44" fmla="*/ 2147483647 w 21600"/>
                <a:gd name="T45" fmla="*/ 92309232 h 21600"/>
                <a:gd name="T46" fmla="*/ 2147483647 w 21600"/>
                <a:gd name="T47" fmla="*/ 8948658 h 21600"/>
                <a:gd name="T48" fmla="*/ 2147483647 w 21600"/>
                <a:gd name="T49" fmla="*/ 0 h 21600"/>
                <a:gd name="T50" fmla="*/ 2147483647 w 21600"/>
                <a:gd name="T51" fmla="*/ 234227488 h 21600"/>
                <a:gd name="T52" fmla="*/ 2147483647 w 21600"/>
                <a:gd name="T53" fmla="*/ 495612270 h 21600"/>
                <a:gd name="T54" fmla="*/ 2147483647 w 21600"/>
                <a:gd name="T55" fmla="*/ 847109135 h 21600"/>
                <a:gd name="T56" fmla="*/ 2147483647 w 21600"/>
                <a:gd name="T57" fmla="*/ 832980458 h 21600"/>
                <a:gd name="T58" fmla="*/ 2147483647 w 21600"/>
                <a:gd name="T59" fmla="*/ 1029530503 h 21600"/>
                <a:gd name="T60" fmla="*/ 2147483647 w 21600"/>
                <a:gd name="T61" fmla="*/ 1139894195 h 21600"/>
                <a:gd name="T62" fmla="*/ 2147483647 w 21600"/>
                <a:gd name="T63" fmla="*/ 1398453253 h 21600"/>
                <a:gd name="T64" fmla="*/ 2147483647 w 21600"/>
                <a:gd name="T65" fmla="*/ 1475536717 h 21600"/>
                <a:gd name="T66" fmla="*/ 2147483647 w 21600"/>
                <a:gd name="T67" fmla="*/ 1722478536 h 21600"/>
                <a:gd name="T68" fmla="*/ 2147483647 w 21600"/>
                <a:gd name="T69" fmla="*/ 1922954364 h 21600"/>
                <a:gd name="T70" fmla="*/ 2147483647 w 21600"/>
                <a:gd name="T71" fmla="*/ 2098624225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2147483647 w 21600"/>
                <a:gd name="T103" fmla="*/ 2147483647 h 21600"/>
                <a:gd name="T104" fmla="*/ 1887536983 w 21600"/>
                <a:gd name="T105" fmla="*/ 2147483647 h 21600"/>
                <a:gd name="T106" fmla="*/ 1781406800 w 21600"/>
                <a:gd name="T107" fmla="*/ 2147483647 h 21600"/>
                <a:gd name="T108" fmla="*/ 1401521049 w 21600"/>
                <a:gd name="T109" fmla="*/ 2147483647 h 21600"/>
                <a:gd name="T110" fmla="*/ 1401521049 w 21600"/>
                <a:gd name="T111" fmla="*/ 2147483647 h 216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1600" h="21600">
                  <a:moveTo>
                    <a:pt x="2826" y="21600"/>
                  </a:moveTo>
                  <a:lnTo>
                    <a:pt x="2797" y="19562"/>
                  </a:lnTo>
                  <a:lnTo>
                    <a:pt x="2054" y="18759"/>
                  </a:lnTo>
                  <a:lnTo>
                    <a:pt x="1301" y="17525"/>
                  </a:lnTo>
                  <a:lnTo>
                    <a:pt x="1203" y="16291"/>
                  </a:lnTo>
                  <a:lnTo>
                    <a:pt x="421" y="15013"/>
                  </a:lnTo>
                  <a:lnTo>
                    <a:pt x="421" y="13248"/>
                  </a:lnTo>
                  <a:lnTo>
                    <a:pt x="0" y="12107"/>
                  </a:lnTo>
                  <a:lnTo>
                    <a:pt x="724" y="10988"/>
                  </a:lnTo>
                  <a:lnTo>
                    <a:pt x="1164" y="9811"/>
                  </a:lnTo>
                  <a:lnTo>
                    <a:pt x="1886" y="8192"/>
                  </a:lnTo>
                  <a:lnTo>
                    <a:pt x="2866" y="8376"/>
                  </a:lnTo>
                  <a:lnTo>
                    <a:pt x="3648" y="7443"/>
                  </a:lnTo>
                  <a:lnTo>
                    <a:pt x="4205" y="8477"/>
                  </a:lnTo>
                  <a:lnTo>
                    <a:pt x="4841" y="7429"/>
                  </a:lnTo>
                  <a:lnTo>
                    <a:pt x="5800" y="7171"/>
                  </a:lnTo>
                  <a:lnTo>
                    <a:pt x="7022" y="6984"/>
                  </a:lnTo>
                  <a:lnTo>
                    <a:pt x="7892" y="6195"/>
                  </a:lnTo>
                  <a:lnTo>
                    <a:pt x="7677" y="4703"/>
                  </a:lnTo>
                  <a:lnTo>
                    <a:pt x="9506" y="4601"/>
                  </a:lnTo>
                  <a:lnTo>
                    <a:pt x="10719" y="3553"/>
                  </a:lnTo>
                  <a:lnTo>
                    <a:pt x="11844" y="1808"/>
                  </a:lnTo>
                  <a:lnTo>
                    <a:pt x="12372" y="588"/>
                  </a:lnTo>
                  <a:lnTo>
                    <a:pt x="13207" y="57"/>
                  </a:lnTo>
                  <a:lnTo>
                    <a:pt x="14263" y="0"/>
                  </a:lnTo>
                  <a:lnTo>
                    <a:pt x="14948" y="1492"/>
                  </a:lnTo>
                  <a:lnTo>
                    <a:pt x="15476" y="3157"/>
                  </a:lnTo>
                  <a:lnTo>
                    <a:pt x="15300" y="5396"/>
                  </a:lnTo>
                  <a:lnTo>
                    <a:pt x="16238" y="5306"/>
                  </a:lnTo>
                  <a:lnTo>
                    <a:pt x="16884" y="6558"/>
                  </a:lnTo>
                  <a:lnTo>
                    <a:pt x="17960" y="7261"/>
                  </a:lnTo>
                  <a:lnTo>
                    <a:pt x="18716" y="8908"/>
                  </a:lnTo>
                  <a:lnTo>
                    <a:pt x="19311" y="9399"/>
                  </a:lnTo>
                  <a:lnTo>
                    <a:pt x="20133" y="10972"/>
                  </a:lnTo>
                  <a:lnTo>
                    <a:pt x="20700" y="12249"/>
                  </a:lnTo>
                  <a:lnTo>
                    <a:pt x="21600" y="13368"/>
                  </a:lnTo>
                  <a:lnTo>
                    <a:pt x="20816" y="14571"/>
                  </a:lnTo>
                  <a:lnTo>
                    <a:pt x="19684" y="14118"/>
                  </a:lnTo>
                  <a:lnTo>
                    <a:pt x="18493" y="13841"/>
                  </a:lnTo>
                  <a:lnTo>
                    <a:pt x="17884" y="14747"/>
                  </a:lnTo>
                  <a:lnTo>
                    <a:pt x="16864" y="14533"/>
                  </a:lnTo>
                  <a:lnTo>
                    <a:pt x="15886" y="15087"/>
                  </a:lnTo>
                  <a:lnTo>
                    <a:pt x="14961" y="15313"/>
                  </a:lnTo>
                  <a:lnTo>
                    <a:pt x="14137" y="15175"/>
                  </a:lnTo>
                  <a:lnTo>
                    <a:pt x="13623" y="16684"/>
                  </a:lnTo>
                  <a:lnTo>
                    <a:pt x="11543" y="16525"/>
                  </a:lnTo>
                  <a:lnTo>
                    <a:pt x="10260" y="15886"/>
                  </a:lnTo>
                  <a:lnTo>
                    <a:pt x="9448" y="14546"/>
                  </a:lnTo>
                  <a:lnTo>
                    <a:pt x="8239" y="14533"/>
                  </a:lnTo>
                  <a:lnTo>
                    <a:pt x="7329" y="16143"/>
                  </a:lnTo>
                  <a:lnTo>
                    <a:pt x="6995" y="18093"/>
                  </a:lnTo>
                  <a:lnTo>
                    <a:pt x="5152" y="18294"/>
                  </a:lnTo>
                  <a:lnTo>
                    <a:pt x="3806" y="18294"/>
                  </a:lnTo>
                  <a:lnTo>
                    <a:pt x="3592" y="19828"/>
                  </a:lnTo>
                  <a:lnTo>
                    <a:pt x="2826" y="21600"/>
                  </a:lnTo>
                  <a:close/>
                  <a:moveTo>
                    <a:pt x="2826" y="21600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286BEC5-28F7-9E83-C666-6811EDD92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380" y="1908466"/>
              <a:ext cx="792598" cy="1113822"/>
            </a:xfrm>
            <a:custGeom>
              <a:avLst/>
              <a:gdLst>
                <a:gd name="T0" fmla="*/ 48290704 w 21600"/>
                <a:gd name="T1" fmla="*/ 2147483647 h 21600"/>
                <a:gd name="T2" fmla="*/ 772891772 w 21600"/>
                <a:gd name="T3" fmla="*/ 2147483647 h 21600"/>
                <a:gd name="T4" fmla="*/ 1122081846 w 21600"/>
                <a:gd name="T5" fmla="*/ 2147483647 h 21600"/>
                <a:gd name="T6" fmla="*/ 1163620978 w 21600"/>
                <a:gd name="T7" fmla="*/ 2147483647 h 21600"/>
                <a:gd name="T8" fmla="*/ 1342499366 w 21600"/>
                <a:gd name="T9" fmla="*/ 2147483647 h 21600"/>
                <a:gd name="T10" fmla="*/ 1083135110 w 21600"/>
                <a:gd name="T11" fmla="*/ 2147483647 h 21600"/>
                <a:gd name="T12" fmla="*/ 945795854 w 21600"/>
                <a:gd name="T13" fmla="*/ 487965839 h 21600"/>
                <a:gd name="T14" fmla="*/ 1570706194 w 21600"/>
                <a:gd name="T15" fmla="*/ 0 h 21600"/>
                <a:gd name="T16" fmla="*/ 2147483647 w 21600"/>
                <a:gd name="T17" fmla="*/ 1112588553 h 21600"/>
                <a:gd name="T18" fmla="*/ 2147483647 w 21600"/>
                <a:gd name="T19" fmla="*/ 2147483647 h 21600"/>
                <a:gd name="T20" fmla="*/ 2147483647 w 21600"/>
                <a:gd name="T21" fmla="*/ 2147483647 h 21600"/>
                <a:gd name="T22" fmla="*/ 2147483647 w 21600"/>
                <a:gd name="T23" fmla="*/ 2147483647 h 21600"/>
                <a:gd name="T24" fmla="*/ 2147483647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022704352 w 21600"/>
                <a:gd name="T47" fmla="*/ 2147483647 h 21600"/>
                <a:gd name="T48" fmla="*/ 1610426241 w 21600"/>
                <a:gd name="T49" fmla="*/ 2147483647 h 21600"/>
                <a:gd name="T50" fmla="*/ 1040818648 w 21600"/>
                <a:gd name="T51" fmla="*/ 2147483647 h 21600"/>
                <a:gd name="T52" fmla="*/ 780681145 w 21600"/>
                <a:gd name="T53" fmla="*/ 2147483647 h 21600"/>
                <a:gd name="T54" fmla="*/ 326082490 w 21600"/>
                <a:gd name="T55" fmla="*/ 2147483647 h 21600"/>
                <a:gd name="T56" fmla="*/ 712400150 w 21600"/>
                <a:gd name="T57" fmla="*/ 2147483647 h 21600"/>
                <a:gd name="T58" fmla="*/ 839614025 w 21600"/>
                <a:gd name="T59" fmla="*/ 2147483647 h 21600"/>
                <a:gd name="T60" fmla="*/ 779122467 w 21600"/>
                <a:gd name="T61" fmla="*/ 2147483647 h 21600"/>
                <a:gd name="T62" fmla="*/ 489386215 w 21600"/>
                <a:gd name="T63" fmla="*/ 2147483647 h 21600"/>
                <a:gd name="T64" fmla="*/ 0 w 21600"/>
                <a:gd name="T65" fmla="*/ 2147483647 h 216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600" h="21600">
                  <a:moveTo>
                    <a:pt x="0" y="12823"/>
                  </a:moveTo>
                  <a:lnTo>
                    <a:pt x="186" y="11833"/>
                  </a:lnTo>
                  <a:lnTo>
                    <a:pt x="1551" y="10523"/>
                  </a:lnTo>
                  <a:lnTo>
                    <a:pt x="2977" y="9560"/>
                  </a:lnTo>
                  <a:lnTo>
                    <a:pt x="4162" y="8905"/>
                  </a:lnTo>
                  <a:lnTo>
                    <a:pt x="4322" y="7987"/>
                  </a:lnTo>
                  <a:lnTo>
                    <a:pt x="4482" y="6748"/>
                  </a:lnTo>
                  <a:lnTo>
                    <a:pt x="4482" y="5725"/>
                  </a:lnTo>
                  <a:lnTo>
                    <a:pt x="4842" y="4996"/>
                  </a:lnTo>
                  <a:lnTo>
                    <a:pt x="5171" y="4182"/>
                  </a:lnTo>
                  <a:lnTo>
                    <a:pt x="4892" y="3388"/>
                  </a:lnTo>
                  <a:lnTo>
                    <a:pt x="4172" y="2844"/>
                  </a:lnTo>
                  <a:lnTo>
                    <a:pt x="3720" y="1868"/>
                  </a:lnTo>
                  <a:lnTo>
                    <a:pt x="3643" y="532"/>
                  </a:lnTo>
                  <a:lnTo>
                    <a:pt x="4742" y="7"/>
                  </a:lnTo>
                  <a:lnTo>
                    <a:pt x="6050" y="0"/>
                  </a:lnTo>
                  <a:lnTo>
                    <a:pt x="7945" y="663"/>
                  </a:lnTo>
                  <a:lnTo>
                    <a:pt x="9974" y="1213"/>
                  </a:lnTo>
                  <a:lnTo>
                    <a:pt x="12847" y="2151"/>
                  </a:lnTo>
                  <a:lnTo>
                    <a:pt x="15193" y="2986"/>
                  </a:lnTo>
                  <a:lnTo>
                    <a:pt x="18007" y="3859"/>
                  </a:lnTo>
                  <a:lnTo>
                    <a:pt x="19982" y="4657"/>
                  </a:lnTo>
                  <a:lnTo>
                    <a:pt x="21390" y="5228"/>
                  </a:lnTo>
                  <a:lnTo>
                    <a:pt x="21600" y="6191"/>
                  </a:lnTo>
                  <a:lnTo>
                    <a:pt x="21590" y="9046"/>
                  </a:lnTo>
                  <a:lnTo>
                    <a:pt x="21570" y="10345"/>
                  </a:lnTo>
                  <a:lnTo>
                    <a:pt x="19682" y="10398"/>
                  </a:lnTo>
                  <a:lnTo>
                    <a:pt x="19373" y="11111"/>
                  </a:lnTo>
                  <a:lnTo>
                    <a:pt x="18344" y="11872"/>
                  </a:lnTo>
                  <a:lnTo>
                    <a:pt x="18454" y="12562"/>
                  </a:lnTo>
                  <a:lnTo>
                    <a:pt x="17715" y="13172"/>
                  </a:lnTo>
                  <a:lnTo>
                    <a:pt x="17874" y="13835"/>
                  </a:lnTo>
                  <a:lnTo>
                    <a:pt x="17155" y="14524"/>
                  </a:lnTo>
                  <a:lnTo>
                    <a:pt x="18374" y="14572"/>
                  </a:lnTo>
                  <a:lnTo>
                    <a:pt x="18673" y="15570"/>
                  </a:lnTo>
                  <a:lnTo>
                    <a:pt x="19313" y="16095"/>
                  </a:lnTo>
                  <a:lnTo>
                    <a:pt x="19313" y="17026"/>
                  </a:lnTo>
                  <a:lnTo>
                    <a:pt x="17984" y="17085"/>
                  </a:lnTo>
                  <a:lnTo>
                    <a:pt x="16926" y="17460"/>
                  </a:lnTo>
                  <a:lnTo>
                    <a:pt x="15837" y="18431"/>
                  </a:lnTo>
                  <a:lnTo>
                    <a:pt x="14738" y="19060"/>
                  </a:lnTo>
                  <a:lnTo>
                    <a:pt x="13709" y="19487"/>
                  </a:lnTo>
                  <a:lnTo>
                    <a:pt x="12439" y="19561"/>
                  </a:lnTo>
                  <a:lnTo>
                    <a:pt x="11272" y="19539"/>
                  </a:lnTo>
                  <a:lnTo>
                    <a:pt x="11522" y="20379"/>
                  </a:lnTo>
                  <a:lnTo>
                    <a:pt x="10358" y="20812"/>
                  </a:lnTo>
                  <a:lnTo>
                    <a:pt x="8979" y="20963"/>
                  </a:lnTo>
                  <a:lnTo>
                    <a:pt x="7791" y="21068"/>
                  </a:lnTo>
                  <a:lnTo>
                    <a:pt x="6932" y="21600"/>
                  </a:lnTo>
                  <a:lnTo>
                    <a:pt x="6203" y="21075"/>
                  </a:lnTo>
                  <a:lnTo>
                    <a:pt x="5464" y="21551"/>
                  </a:lnTo>
                  <a:lnTo>
                    <a:pt x="4009" y="21534"/>
                  </a:lnTo>
                  <a:lnTo>
                    <a:pt x="3536" y="20495"/>
                  </a:lnTo>
                  <a:lnTo>
                    <a:pt x="3007" y="19861"/>
                  </a:lnTo>
                  <a:lnTo>
                    <a:pt x="1948" y="19441"/>
                  </a:lnTo>
                  <a:lnTo>
                    <a:pt x="1256" y="18850"/>
                  </a:lnTo>
                  <a:lnTo>
                    <a:pt x="1336" y="18181"/>
                  </a:lnTo>
                  <a:lnTo>
                    <a:pt x="2744" y="18181"/>
                  </a:lnTo>
                  <a:lnTo>
                    <a:pt x="4291" y="18029"/>
                  </a:lnTo>
                  <a:lnTo>
                    <a:pt x="3234" y="17332"/>
                  </a:lnTo>
                  <a:lnTo>
                    <a:pt x="3353" y="16407"/>
                  </a:lnTo>
                  <a:lnTo>
                    <a:pt x="3001" y="15387"/>
                  </a:lnTo>
                  <a:lnTo>
                    <a:pt x="2701" y="14736"/>
                  </a:lnTo>
                  <a:lnTo>
                    <a:pt x="1885" y="14413"/>
                  </a:lnTo>
                  <a:lnTo>
                    <a:pt x="652" y="13695"/>
                  </a:lnTo>
                  <a:lnTo>
                    <a:pt x="0" y="12823"/>
                  </a:lnTo>
                  <a:close/>
                  <a:moveTo>
                    <a:pt x="0" y="12823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6F0A7F29-C7AE-A6D6-9612-01651891F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305" y="2505819"/>
              <a:ext cx="1129543" cy="793661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2147483647 w 21600"/>
                <a:gd name="T17" fmla="*/ 2147483647 h 21600"/>
                <a:gd name="T18" fmla="*/ 2147483647 w 21600"/>
                <a:gd name="T19" fmla="*/ 2147483647 h 21600"/>
                <a:gd name="T20" fmla="*/ 2147483647 w 21600"/>
                <a:gd name="T21" fmla="*/ 2147483647 h 21600"/>
                <a:gd name="T22" fmla="*/ 2147483647 w 21600"/>
                <a:gd name="T23" fmla="*/ 2147483647 h 21600"/>
                <a:gd name="T24" fmla="*/ 2147483647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1947584818 h 21600"/>
                <a:gd name="T38" fmla="*/ 2147483647 w 21600"/>
                <a:gd name="T39" fmla="*/ 1516521708 h 21600"/>
                <a:gd name="T40" fmla="*/ 2147483647 w 21600"/>
                <a:gd name="T41" fmla="*/ 1204587754 h 21600"/>
                <a:gd name="T42" fmla="*/ 2147483647 w 21600"/>
                <a:gd name="T43" fmla="*/ 969315584 h 21600"/>
                <a:gd name="T44" fmla="*/ 2147483647 w 21600"/>
                <a:gd name="T45" fmla="*/ 721758568 h 21600"/>
                <a:gd name="T46" fmla="*/ 2147483647 w 21600"/>
                <a:gd name="T47" fmla="*/ 464912401 h 21600"/>
                <a:gd name="T48" fmla="*/ 2147483647 w 21600"/>
                <a:gd name="T49" fmla="*/ 171230801 h 21600"/>
                <a:gd name="T50" fmla="*/ 2147483647 w 21600"/>
                <a:gd name="T51" fmla="*/ 161941650 h 21600"/>
                <a:gd name="T52" fmla="*/ 2147483647 w 21600"/>
                <a:gd name="T53" fmla="*/ 85615366 h 21600"/>
                <a:gd name="T54" fmla="*/ 2147483647 w 21600"/>
                <a:gd name="T55" fmla="*/ 0 h 21600"/>
                <a:gd name="T56" fmla="*/ 2147483647 w 21600"/>
                <a:gd name="T57" fmla="*/ 348433817 h 21600"/>
                <a:gd name="T58" fmla="*/ 2147483647 w 21600"/>
                <a:gd name="T59" fmla="*/ 143689296 h 21600"/>
                <a:gd name="T60" fmla="*/ 2147483647 w 21600"/>
                <a:gd name="T61" fmla="*/ 229304662 h 21600"/>
                <a:gd name="T62" fmla="*/ 2147483647 w 21600"/>
                <a:gd name="T63" fmla="*/ 758263277 h 21600"/>
                <a:gd name="T64" fmla="*/ 2147483647 w 21600"/>
                <a:gd name="T65" fmla="*/ 1115986245 h 21600"/>
                <a:gd name="T66" fmla="*/ 2147483647 w 21600"/>
                <a:gd name="T67" fmla="*/ 1343301784 h 21600"/>
                <a:gd name="T68" fmla="*/ 2147483647 w 21600"/>
                <a:gd name="T69" fmla="*/ 1786975689 h 21600"/>
                <a:gd name="T70" fmla="*/ 2126550699 w 21600"/>
                <a:gd name="T71" fmla="*/ 2147483647 h 21600"/>
                <a:gd name="T72" fmla="*/ 1583263035 w 21600"/>
                <a:gd name="T73" fmla="*/ 2147483647 h 21600"/>
                <a:gd name="T74" fmla="*/ 1088823445 w 21600"/>
                <a:gd name="T75" fmla="*/ 2147483647 h 21600"/>
                <a:gd name="T76" fmla="*/ 1088823445 w 21600"/>
                <a:gd name="T77" fmla="*/ 2147483647 h 21600"/>
                <a:gd name="T78" fmla="*/ 237454290 w 21600"/>
                <a:gd name="T79" fmla="*/ 2147483647 h 21600"/>
                <a:gd name="T80" fmla="*/ 0 w 21600"/>
                <a:gd name="T81" fmla="*/ 2147483647 h 21600"/>
                <a:gd name="T82" fmla="*/ 807033951 w 21600"/>
                <a:gd name="T83" fmla="*/ 2147483647 h 21600"/>
                <a:gd name="T84" fmla="*/ 1451018009 w 21600"/>
                <a:gd name="T85" fmla="*/ 2147483647 h 21600"/>
                <a:gd name="T86" fmla="*/ 1967997130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2147483647 w 21600"/>
                <a:gd name="T103" fmla="*/ 2147483647 h 21600"/>
                <a:gd name="T104" fmla="*/ 2147483647 w 21600"/>
                <a:gd name="T105" fmla="*/ 2147483647 h 21600"/>
                <a:gd name="T106" fmla="*/ 2147483647 w 21600"/>
                <a:gd name="T107" fmla="*/ 2147483647 h 21600"/>
                <a:gd name="T108" fmla="*/ 2147483647 w 21600"/>
                <a:gd name="T109" fmla="*/ 2147483647 h 21600"/>
                <a:gd name="T110" fmla="*/ 2147483647 w 21600"/>
                <a:gd name="T111" fmla="*/ 2147483647 h 21600"/>
                <a:gd name="T112" fmla="*/ 2147483647 w 21600"/>
                <a:gd name="T113" fmla="*/ 2147483647 h 21600"/>
                <a:gd name="T114" fmla="*/ 2147483647 w 21600"/>
                <a:gd name="T115" fmla="*/ 2147483647 h 21600"/>
                <a:gd name="T116" fmla="*/ 2147483647 w 21600"/>
                <a:gd name="T117" fmla="*/ 2147483647 h 216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1600" h="21600">
                  <a:moveTo>
                    <a:pt x="13349" y="20286"/>
                  </a:moveTo>
                  <a:lnTo>
                    <a:pt x="14409" y="20203"/>
                  </a:lnTo>
                  <a:lnTo>
                    <a:pt x="14916" y="19343"/>
                  </a:lnTo>
                  <a:lnTo>
                    <a:pt x="15463" y="18812"/>
                  </a:lnTo>
                  <a:lnTo>
                    <a:pt x="17457" y="18766"/>
                  </a:lnTo>
                  <a:lnTo>
                    <a:pt x="18517" y="17246"/>
                  </a:lnTo>
                  <a:lnTo>
                    <a:pt x="19486" y="15819"/>
                  </a:lnTo>
                  <a:lnTo>
                    <a:pt x="20357" y="14419"/>
                  </a:lnTo>
                  <a:lnTo>
                    <a:pt x="21600" y="12669"/>
                  </a:lnTo>
                  <a:lnTo>
                    <a:pt x="20385" y="12568"/>
                  </a:lnTo>
                  <a:lnTo>
                    <a:pt x="18777" y="11969"/>
                  </a:lnTo>
                  <a:lnTo>
                    <a:pt x="16748" y="11112"/>
                  </a:lnTo>
                  <a:lnTo>
                    <a:pt x="15926" y="10716"/>
                  </a:lnTo>
                  <a:lnTo>
                    <a:pt x="15364" y="9942"/>
                  </a:lnTo>
                  <a:lnTo>
                    <a:pt x="14522" y="9058"/>
                  </a:lnTo>
                  <a:lnTo>
                    <a:pt x="13967" y="8045"/>
                  </a:lnTo>
                  <a:lnTo>
                    <a:pt x="14150" y="6882"/>
                  </a:lnTo>
                  <a:lnTo>
                    <a:pt x="12584" y="7020"/>
                  </a:lnTo>
                  <a:lnTo>
                    <a:pt x="12541" y="5869"/>
                  </a:lnTo>
                  <a:lnTo>
                    <a:pt x="13040" y="4570"/>
                  </a:lnTo>
                  <a:lnTo>
                    <a:pt x="13138" y="3630"/>
                  </a:lnTo>
                  <a:lnTo>
                    <a:pt x="12275" y="2921"/>
                  </a:lnTo>
                  <a:lnTo>
                    <a:pt x="11713" y="2175"/>
                  </a:lnTo>
                  <a:lnTo>
                    <a:pt x="11081" y="1401"/>
                  </a:lnTo>
                  <a:lnTo>
                    <a:pt x="9793" y="516"/>
                  </a:lnTo>
                  <a:lnTo>
                    <a:pt x="8929" y="488"/>
                  </a:lnTo>
                  <a:lnTo>
                    <a:pt x="8115" y="258"/>
                  </a:lnTo>
                  <a:lnTo>
                    <a:pt x="7209" y="0"/>
                  </a:lnTo>
                  <a:lnTo>
                    <a:pt x="6591" y="1050"/>
                  </a:lnTo>
                  <a:lnTo>
                    <a:pt x="5917" y="433"/>
                  </a:lnTo>
                  <a:lnTo>
                    <a:pt x="4782" y="691"/>
                  </a:lnTo>
                  <a:lnTo>
                    <a:pt x="4606" y="2285"/>
                  </a:lnTo>
                  <a:lnTo>
                    <a:pt x="4210" y="3363"/>
                  </a:lnTo>
                  <a:lnTo>
                    <a:pt x="3570" y="4048"/>
                  </a:lnTo>
                  <a:lnTo>
                    <a:pt x="3020" y="5385"/>
                  </a:lnTo>
                  <a:lnTo>
                    <a:pt x="2830" y="7007"/>
                  </a:lnTo>
                  <a:lnTo>
                    <a:pt x="2107" y="7734"/>
                  </a:lnTo>
                  <a:lnTo>
                    <a:pt x="1449" y="9724"/>
                  </a:lnTo>
                  <a:lnTo>
                    <a:pt x="1449" y="11822"/>
                  </a:lnTo>
                  <a:lnTo>
                    <a:pt x="316" y="12125"/>
                  </a:lnTo>
                  <a:lnTo>
                    <a:pt x="0" y="13393"/>
                  </a:lnTo>
                  <a:lnTo>
                    <a:pt x="1074" y="13863"/>
                  </a:lnTo>
                  <a:lnTo>
                    <a:pt x="1931" y="14867"/>
                  </a:lnTo>
                  <a:lnTo>
                    <a:pt x="2619" y="16000"/>
                  </a:lnTo>
                  <a:lnTo>
                    <a:pt x="3125" y="17176"/>
                  </a:lnTo>
                  <a:lnTo>
                    <a:pt x="3483" y="17987"/>
                  </a:lnTo>
                  <a:lnTo>
                    <a:pt x="4122" y="18032"/>
                  </a:lnTo>
                  <a:lnTo>
                    <a:pt x="4271" y="19360"/>
                  </a:lnTo>
                  <a:lnTo>
                    <a:pt x="5017" y="19683"/>
                  </a:lnTo>
                  <a:lnTo>
                    <a:pt x="5798" y="19932"/>
                  </a:lnTo>
                  <a:lnTo>
                    <a:pt x="6529" y="20403"/>
                  </a:lnTo>
                  <a:lnTo>
                    <a:pt x="7281" y="21212"/>
                  </a:lnTo>
                  <a:lnTo>
                    <a:pt x="8322" y="21406"/>
                  </a:lnTo>
                  <a:lnTo>
                    <a:pt x="9582" y="21600"/>
                  </a:lnTo>
                  <a:lnTo>
                    <a:pt x="10491" y="20574"/>
                  </a:lnTo>
                  <a:lnTo>
                    <a:pt x="11522" y="20338"/>
                  </a:lnTo>
                  <a:lnTo>
                    <a:pt x="12260" y="20532"/>
                  </a:lnTo>
                  <a:lnTo>
                    <a:pt x="13349" y="20286"/>
                  </a:lnTo>
                  <a:close/>
                  <a:moveTo>
                    <a:pt x="13349" y="20286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ECF346D-0B67-40F4-A167-BA759C707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370" y="3165518"/>
              <a:ext cx="1466489" cy="1340462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820182266 h 21600"/>
                <a:gd name="T14" fmla="*/ 2147483647 w 21600"/>
                <a:gd name="T15" fmla="*/ 1395742797 h 21600"/>
                <a:gd name="T16" fmla="*/ 2147483647 w 21600"/>
                <a:gd name="T17" fmla="*/ 2147483647 h 21600"/>
                <a:gd name="T18" fmla="*/ 2147483647 w 21600"/>
                <a:gd name="T19" fmla="*/ 1334994137 h 21600"/>
                <a:gd name="T20" fmla="*/ 2147483647 w 21600"/>
                <a:gd name="T21" fmla="*/ 767418601 h 21600"/>
                <a:gd name="T22" fmla="*/ 2147483647 w 21600"/>
                <a:gd name="T23" fmla="*/ 262205141 h 21600"/>
                <a:gd name="T24" fmla="*/ 2147483647 w 21600"/>
                <a:gd name="T25" fmla="*/ 0 h 21600"/>
                <a:gd name="T26" fmla="*/ 2147483647 w 21600"/>
                <a:gd name="T27" fmla="*/ 1953720039 h 21600"/>
                <a:gd name="T28" fmla="*/ 2147483647 w 21600"/>
                <a:gd name="T29" fmla="*/ 1459691044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147483647 w 21600"/>
                <a:gd name="T47" fmla="*/ 2147483647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2147483647 w 21600"/>
                <a:gd name="T69" fmla="*/ 2147483647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3771415 w 21600"/>
                <a:gd name="T89" fmla="*/ 2147483647 h 21600"/>
                <a:gd name="T90" fmla="*/ 649548032 w 21600"/>
                <a:gd name="T91" fmla="*/ 2147483647 h 21600"/>
                <a:gd name="T92" fmla="*/ 1805591074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1600" h="21600">
                  <a:moveTo>
                    <a:pt x="4254" y="10737"/>
                  </a:moveTo>
                  <a:lnTo>
                    <a:pt x="4367" y="9935"/>
                  </a:lnTo>
                  <a:lnTo>
                    <a:pt x="4475" y="8732"/>
                  </a:lnTo>
                  <a:lnTo>
                    <a:pt x="5000" y="8126"/>
                  </a:lnTo>
                  <a:lnTo>
                    <a:pt x="5298" y="7542"/>
                  </a:lnTo>
                  <a:lnTo>
                    <a:pt x="6152" y="6996"/>
                  </a:lnTo>
                  <a:lnTo>
                    <a:pt x="6141" y="6225"/>
                  </a:lnTo>
                  <a:lnTo>
                    <a:pt x="6406" y="5439"/>
                  </a:lnTo>
                  <a:lnTo>
                    <a:pt x="6471" y="4740"/>
                  </a:lnTo>
                  <a:lnTo>
                    <a:pt x="6477" y="3834"/>
                  </a:lnTo>
                  <a:lnTo>
                    <a:pt x="6942" y="3242"/>
                  </a:lnTo>
                  <a:lnTo>
                    <a:pt x="7136" y="2216"/>
                  </a:lnTo>
                  <a:lnTo>
                    <a:pt x="7315" y="1337"/>
                  </a:lnTo>
                  <a:lnTo>
                    <a:pt x="7980" y="513"/>
                  </a:lnTo>
                  <a:lnTo>
                    <a:pt x="8732" y="491"/>
                  </a:lnTo>
                  <a:lnTo>
                    <a:pt x="9192" y="873"/>
                  </a:lnTo>
                  <a:lnTo>
                    <a:pt x="9992" y="1381"/>
                  </a:lnTo>
                  <a:lnTo>
                    <a:pt x="10711" y="1413"/>
                  </a:lnTo>
                  <a:lnTo>
                    <a:pt x="11539" y="1397"/>
                  </a:lnTo>
                  <a:lnTo>
                    <a:pt x="11950" y="835"/>
                  </a:lnTo>
                  <a:lnTo>
                    <a:pt x="13110" y="769"/>
                  </a:lnTo>
                  <a:lnTo>
                    <a:pt x="13818" y="480"/>
                  </a:lnTo>
                  <a:lnTo>
                    <a:pt x="14473" y="551"/>
                  </a:lnTo>
                  <a:lnTo>
                    <a:pt x="14895" y="164"/>
                  </a:lnTo>
                  <a:lnTo>
                    <a:pt x="16188" y="430"/>
                  </a:lnTo>
                  <a:lnTo>
                    <a:pt x="16981" y="0"/>
                  </a:lnTo>
                  <a:lnTo>
                    <a:pt x="17338" y="551"/>
                  </a:lnTo>
                  <a:lnTo>
                    <a:pt x="17841" y="1222"/>
                  </a:lnTo>
                  <a:lnTo>
                    <a:pt x="18979" y="1017"/>
                  </a:lnTo>
                  <a:lnTo>
                    <a:pt x="19881" y="913"/>
                  </a:lnTo>
                  <a:lnTo>
                    <a:pt x="20324" y="1539"/>
                  </a:lnTo>
                  <a:lnTo>
                    <a:pt x="21157" y="2105"/>
                  </a:lnTo>
                  <a:lnTo>
                    <a:pt x="21125" y="2681"/>
                  </a:lnTo>
                  <a:lnTo>
                    <a:pt x="21030" y="3374"/>
                  </a:lnTo>
                  <a:lnTo>
                    <a:pt x="21600" y="3689"/>
                  </a:lnTo>
                  <a:lnTo>
                    <a:pt x="21254" y="4202"/>
                  </a:lnTo>
                  <a:lnTo>
                    <a:pt x="20832" y="4710"/>
                  </a:lnTo>
                  <a:lnTo>
                    <a:pt x="20161" y="5264"/>
                  </a:lnTo>
                  <a:lnTo>
                    <a:pt x="19939" y="6198"/>
                  </a:lnTo>
                  <a:lnTo>
                    <a:pt x="19791" y="7755"/>
                  </a:lnTo>
                  <a:lnTo>
                    <a:pt x="19085" y="8265"/>
                  </a:lnTo>
                  <a:lnTo>
                    <a:pt x="18874" y="9029"/>
                  </a:lnTo>
                  <a:lnTo>
                    <a:pt x="19118" y="9803"/>
                  </a:lnTo>
                  <a:lnTo>
                    <a:pt x="19339" y="11337"/>
                  </a:lnTo>
                  <a:lnTo>
                    <a:pt x="19496" y="12679"/>
                  </a:lnTo>
                  <a:lnTo>
                    <a:pt x="19626" y="13546"/>
                  </a:lnTo>
                  <a:lnTo>
                    <a:pt x="20156" y="14200"/>
                  </a:lnTo>
                  <a:lnTo>
                    <a:pt x="20567" y="15046"/>
                  </a:lnTo>
                  <a:lnTo>
                    <a:pt x="20940" y="15679"/>
                  </a:lnTo>
                  <a:lnTo>
                    <a:pt x="20032" y="15766"/>
                  </a:lnTo>
                  <a:lnTo>
                    <a:pt x="18912" y="15935"/>
                  </a:lnTo>
                  <a:lnTo>
                    <a:pt x="18285" y="16840"/>
                  </a:lnTo>
                  <a:lnTo>
                    <a:pt x="18582" y="17511"/>
                  </a:lnTo>
                  <a:lnTo>
                    <a:pt x="18474" y="18385"/>
                  </a:lnTo>
                  <a:lnTo>
                    <a:pt x="18133" y="19400"/>
                  </a:lnTo>
                  <a:lnTo>
                    <a:pt x="18555" y="19990"/>
                  </a:lnTo>
                  <a:lnTo>
                    <a:pt x="19091" y="20443"/>
                  </a:lnTo>
                  <a:lnTo>
                    <a:pt x="19729" y="20061"/>
                  </a:lnTo>
                  <a:lnTo>
                    <a:pt x="19707" y="21600"/>
                  </a:lnTo>
                  <a:lnTo>
                    <a:pt x="18914" y="21526"/>
                  </a:lnTo>
                  <a:lnTo>
                    <a:pt x="18474" y="20792"/>
                  </a:lnTo>
                  <a:lnTo>
                    <a:pt x="17922" y="20465"/>
                  </a:lnTo>
                  <a:lnTo>
                    <a:pt x="17159" y="20203"/>
                  </a:lnTo>
                  <a:lnTo>
                    <a:pt x="16830" y="19564"/>
                  </a:lnTo>
                  <a:lnTo>
                    <a:pt x="16186" y="19826"/>
                  </a:lnTo>
                  <a:lnTo>
                    <a:pt x="15451" y="19695"/>
                  </a:lnTo>
                  <a:lnTo>
                    <a:pt x="14728" y="19667"/>
                  </a:lnTo>
                  <a:lnTo>
                    <a:pt x="14721" y="18997"/>
                  </a:lnTo>
                  <a:lnTo>
                    <a:pt x="13921" y="19291"/>
                  </a:lnTo>
                  <a:lnTo>
                    <a:pt x="13248" y="18760"/>
                  </a:lnTo>
                  <a:lnTo>
                    <a:pt x="12239" y="18773"/>
                  </a:lnTo>
                  <a:lnTo>
                    <a:pt x="11367" y="18844"/>
                  </a:lnTo>
                  <a:lnTo>
                    <a:pt x="11324" y="17796"/>
                  </a:lnTo>
                  <a:lnTo>
                    <a:pt x="10754" y="17094"/>
                  </a:lnTo>
                  <a:lnTo>
                    <a:pt x="10815" y="15929"/>
                  </a:lnTo>
                  <a:lnTo>
                    <a:pt x="10788" y="15253"/>
                  </a:lnTo>
                  <a:lnTo>
                    <a:pt x="10783" y="14527"/>
                  </a:lnTo>
                  <a:lnTo>
                    <a:pt x="10123" y="14495"/>
                  </a:lnTo>
                  <a:lnTo>
                    <a:pt x="9179" y="14192"/>
                  </a:lnTo>
                  <a:lnTo>
                    <a:pt x="8344" y="14192"/>
                  </a:lnTo>
                  <a:lnTo>
                    <a:pt x="8037" y="15302"/>
                  </a:lnTo>
                  <a:lnTo>
                    <a:pt x="5653" y="15281"/>
                  </a:lnTo>
                  <a:lnTo>
                    <a:pt x="5405" y="14631"/>
                  </a:lnTo>
                  <a:lnTo>
                    <a:pt x="5102" y="13736"/>
                  </a:lnTo>
                  <a:lnTo>
                    <a:pt x="4766" y="12904"/>
                  </a:lnTo>
                  <a:lnTo>
                    <a:pt x="3899" y="12850"/>
                  </a:lnTo>
                  <a:lnTo>
                    <a:pt x="2862" y="12902"/>
                  </a:lnTo>
                  <a:lnTo>
                    <a:pt x="1796" y="12866"/>
                  </a:lnTo>
                  <a:lnTo>
                    <a:pt x="1152" y="12986"/>
                  </a:lnTo>
                  <a:lnTo>
                    <a:pt x="130" y="13543"/>
                  </a:lnTo>
                  <a:lnTo>
                    <a:pt x="0" y="12839"/>
                  </a:lnTo>
                  <a:lnTo>
                    <a:pt x="395" y="12450"/>
                  </a:lnTo>
                  <a:lnTo>
                    <a:pt x="476" y="11894"/>
                  </a:lnTo>
                  <a:lnTo>
                    <a:pt x="1098" y="11588"/>
                  </a:lnTo>
                  <a:lnTo>
                    <a:pt x="1828" y="11364"/>
                  </a:lnTo>
                  <a:lnTo>
                    <a:pt x="2418" y="11141"/>
                  </a:lnTo>
                  <a:lnTo>
                    <a:pt x="2537" y="11768"/>
                  </a:lnTo>
                  <a:lnTo>
                    <a:pt x="3175" y="11435"/>
                  </a:lnTo>
                  <a:lnTo>
                    <a:pt x="3661" y="10917"/>
                  </a:lnTo>
                  <a:lnTo>
                    <a:pt x="4254" y="10737"/>
                  </a:lnTo>
                  <a:close/>
                  <a:moveTo>
                    <a:pt x="4254" y="10737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6340ECF-0485-0295-3233-A1226FC2F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6365" y="3623011"/>
              <a:ext cx="832775" cy="769227"/>
            </a:xfrm>
            <a:custGeom>
              <a:avLst/>
              <a:gdLst>
                <a:gd name="T0" fmla="*/ 957915957 w 21600"/>
                <a:gd name="T1" fmla="*/ 700033791 h 21600"/>
                <a:gd name="T2" fmla="*/ 919974884 w 21600"/>
                <a:gd name="T3" fmla="*/ 362250393 h 21600"/>
                <a:gd name="T4" fmla="*/ 743208692 w 21600"/>
                <a:gd name="T5" fmla="*/ 44413445 h 21600"/>
                <a:gd name="T6" fmla="*/ 1597531409 w 21600"/>
                <a:gd name="T7" fmla="*/ 0 h 21600"/>
                <a:gd name="T8" fmla="*/ 2147483647 w 21600"/>
                <a:gd name="T9" fmla="*/ 103329685 h 21600"/>
                <a:gd name="T10" fmla="*/ 2147483647 w 21600"/>
                <a:gd name="T11" fmla="*/ 519962151 h 21600"/>
                <a:gd name="T12" fmla="*/ 2147483647 w 21600"/>
                <a:gd name="T13" fmla="*/ 815443847 h 21600"/>
                <a:gd name="T14" fmla="*/ 2147483647 w 21600"/>
                <a:gd name="T15" fmla="*/ 1061680809 h 21600"/>
                <a:gd name="T16" fmla="*/ 2147483647 w 21600"/>
                <a:gd name="T17" fmla="*/ 1246885358 h 21600"/>
                <a:gd name="T18" fmla="*/ 2147483647 w 21600"/>
                <a:gd name="T19" fmla="*/ 1613368162 h 21600"/>
                <a:gd name="T20" fmla="*/ 2147483647 w 21600"/>
                <a:gd name="T21" fmla="*/ 1787694459 h 21600"/>
                <a:gd name="T22" fmla="*/ 2147483647 w 21600"/>
                <a:gd name="T23" fmla="*/ 2147483647 h 21600"/>
                <a:gd name="T24" fmla="*/ 2147483647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147483647 w 21600"/>
                <a:gd name="T47" fmla="*/ 2147483647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1946252069 w 21600"/>
                <a:gd name="T69" fmla="*/ 2147483647 h 21600"/>
                <a:gd name="T70" fmla="*/ 1588195579 w 21600"/>
                <a:gd name="T71" fmla="*/ 2147483647 h 21600"/>
                <a:gd name="T72" fmla="*/ 1173229690 w 21600"/>
                <a:gd name="T73" fmla="*/ 2147483647 h 21600"/>
                <a:gd name="T74" fmla="*/ 800724558 w 21600"/>
                <a:gd name="T75" fmla="*/ 2147483647 h 21600"/>
                <a:gd name="T76" fmla="*/ 510728274 w 21600"/>
                <a:gd name="T77" fmla="*/ 2147483647 h 21600"/>
                <a:gd name="T78" fmla="*/ 123765518 w 21600"/>
                <a:gd name="T79" fmla="*/ 2147483647 h 21600"/>
                <a:gd name="T80" fmla="*/ 10539917 w 21600"/>
                <a:gd name="T81" fmla="*/ 2147483647 h 21600"/>
                <a:gd name="T82" fmla="*/ 0 w 21600"/>
                <a:gd name="T83" fmla="*/ 1998883364 h 21600"/>
                <a:gd name="T84" fmla="*/ 396900629 w 21600"/>
                <a:gd name="T85" fmla="*/ 2017614074 h 21600"/>
                <a:gd name="T86" fmla="*/ 676653527 w 21600"/>
                <a:gd name="T87" fmla="*/ 1751741408 h 21600"/>
                <a:gd name="T88" fmla="*/ 875708064 w 21600"/>
                <a:gd name="T89" fmla="*/ 1433904393 h 21600"/>
                <a:gd name="T90" fmla="*/ 720920280 w 21600"/>
                <a:gd name="T91" fmla="*/ 945964569 h 21600"/>
                <a:gd name="T92" fmla="*/ 957915957 w 21600"/>
                <a:gd name="T93" fmla="*/ 700033791 h 21600"/>
                <a:gd name="T94" fmla="*/ 957915957 w 21600"/>
                <a:gd name="T95" fmla="*/ 700033791 h 216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1600" h="21600">
                  <a:moveTo>
                    <a:pt x="3181" y="2317"/>
                  </a:moveTo>
                  <a:lnTo>
                    <a:pt x="3055" y="1199"/>
                  </a:lnTo>
                  <a:lnTo>
                    <a:pt x="2468" y="147"/>
                  </a:lnTo>
                  <a:lnTo>
                    <a:pt x="5305" y="0"/>
                  </a:lnTo>
                  <a:lnTo>
                    <a:pt x="10052" y="342"/>
                  </a:lnTo>
                  <a:lnTo>
                    <a:pt x="12787" y="1721"/>
                  </a:lnTo>
                  <a:lnTo>
                    <a:pt x="14130" y="2699"/>
                  </a:lnTo>
                  <a:lnTo>
                    <a:pt x="15414" y="3514"/>
                  </a:lnTo>
                  <a:lnTo>
                    <a:pt x="16591" y="4127"/>
                  </a:lnTo>
                  <a:lnTo>
                    <a:pt x="16838" y="5340"/>
                  </a:lnTo>
                  <a:lnTo>
                    <a:pt x="17697" y="5917"/>
                  </a:lnTo>
                  <a:lnTo>
                    <a:pt x="19605" y="7235"/>
                  </a:lnTo>
                  <a:lnTo>
                    <a:pt x="18910" y="8507"/>
                  </a:lnTo>
                  <a:lnTo>
                    <a:pt x="18628" y="9990"/>
                  </a:lnTo>
                  <a:lnTo>
                    <a:pt x="19075" y="11156"/>
                  </a:lnTo>
                  <a:lnTo>
                    <a:pt x="20064" y="12192"/>
                  </a:lnTo>
                  <a:lnTo>
                    <a:pt x="19558" y="14099"/>
                  </a:lnTo>
                  <a:lnTo>
                    <a:pt x="19758" y="15807"/>
                  </a:lnTo>
                  <a:lnTo>
                    <a:pt x="20147" y="17232"/>
                  </a:lnTo>
                  <a:lnTo>
                    <a:pt x="20641" y="18398"/>
                  </a:lnTo>
                  <a:lnTo>
                    <a:pt x="21600" y="19317"/>
                  </a:lnTo>
                  <a:lnTo>
                    <a:pt x="20005" y="20235"/>
                  </a:lnTo>
                  <a:lnTo>
                    <a:pt x="18522" y="20447"/>
                  </a:lnTo>
                  <a:lnTo>
                    <a:pt x="17532" y="20800"/>
                  </a:lnTo>
                  <a:lnTo>
                    <a:pt x="16520" y="20729"/>
                  </a:lnTo>
                  <a:lnTo>
                    <a:pt x="15801" y="21412"/>
                  </a:lnTo>
                  <a:lnTo>
                    <a:pt x="14070" y="21459"/>
                  </a:lnTo>
                  <a:lnTo>
                    <a:pt x="12987" y="20988"/>
                  </a:lnTo>
                  <a:lnTo>
                    <a:pt x="11680" y="21188"/>
                  </a:lnTo>
                  <a:lnTo>
                    <a:pt x="10301" y="21600"/>
                  </a:lnTo>
                  <a:lnTo>
                    <a:pt x="9807" y="20317"/>
                  </a:lnTo>
                  <a:lnTo>
                    <a:pt x="9690" y="18457"/>
                  </a:lnTo>
                  <a:lnTo>
                    <a:pt x="9124" y="17208"/>
                  </a:lnTo>
                  <a:lnTo>
                    <a:pt x="7994" y="17044"/>
                  </a:lnTo>
                  <a:lnTo>
                    <a:pt x="6463" y="16573"/>
                  </a:lnTo>
                  <a:lnTo>
                    <a:pt x="5274" y="15737"/>
                  </a:lnTo>
                  <a:lnTo>
                    <a:pt x="3896" y="15348"/>
                  </a:lnTo>
                  <a:lnTo>
                    <a:pt x="2659" y="14547"/>
                  </a:lnTo>
                  <a:lnTo>
                    <a:pt x="1696" y="12545"/>
                  </a:lnTo>
                  <a:lnTo>
                    <a:pt x="411" y="10802"/>
                  </a:lnTo>
                  <a:lnTo>
                    <a:pt x="35" y="8665"/>
                  </a:lnTo>
                  <a:lnTo>
                    <a:pt x="0" y="6616"/>
                  </a:lnTo>
                  <a:lnTo>
                    <a:pt x="1318" y="6678"/>
                  </a:lnTo>
                  <a:lnTo>
                    <a:pt x="2247" y="5798"/>
                  </a:lnTo>
                  <a:lnTo>
                    <a:pt x="2908" y="4746"/>
                  </a:lnTo>
                  <a:lnTo>
                    <a:pt x="2394" y="3131"/>
                  </a:lnTo>
                  <a:lnTo>
                    <a:pt x="3181" y="2317"/>
                  </a:lnTo>
                  <a:close/>
                  <a:moveTo>
                    <a:pt x="3181" y="2317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0D1CF3EF-BA52-0895-84D7-0CB6B3D63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2778" y="2561426"/>
              <a:ext cx="916784" cy="690030"/>
            </a:xfrm>
            <a:custGeom>
              <a:avLst/>
              <a:gdLst>
                <a:gd name="T0" fmla="*/ 178787689 w 21600"/>
                <a:gd name="T1" fmla="*/ 2147483647 h 21600"/>
                <a:gd name="T2" fmla="*/ 455610287 w 21600"/>
                <a:gd name="T3" fmla="*/ 2106946891 h 21600"/>
                <a:gd name="T4" fmla="*/ 801942012 w 21600"/>
                <a:gd name="T5" fmla="*/ 1879042878 h 21600"/>
                <a:gd name="T6" fmla="*/ 889125238 w 21600"/>
                <a:gd name="T7" fmla="*/ 1544498495 h 21600"/>
                <a:gd name="T8" fmla="*/ 718771672 w 21600"/>
                <a:gd name="T9" fmla="*/ 1222598910 h 21600"/>
                <a:gd name="T10" fmla="*/ 701495076 w 21600"/>
                <a:gd name="T11" fmla="*/ 947590208 h 21600"/>
                <a:gd name="T12" fmla="*/ 860599603 w 21600"/>
                <a:gd name="T13" fmla="*/ 697661091 h 21600"/>
                <a:gd name="T14" fmla="*/ 1200500955 w 21600"/>
                <a:gd name="T15" fmla="*/ 494840213 h 21600"/>
                <a:gd name="T16" fmla="*/ 1196880111 w 21600"/>
                <a:gd name="T17" fmla="*/ 250581306 h 21600"/>
                <a:gd name="T18" fmla="*/ 1546424329 w 21600"/>
                <a:gd name="T19" fmla="*/ 61720496 h 21600"/>
                <a:gd name="T20" fmla="*/ 2147483647 w 21600"/>
                <a:gd name="T21" fmla="*/ 0 h 21600"/>
                <a:gd name="T22" fmla="*/ 2147483647 w 21600"/>
                <a:gd name="T23" fmla="*/ 105553471 h 21600"/>
                <a:gd name="T24" fmla="*/ 2147483647 w 21600"/>
                <a:gd name="T25" fmla="*/ 316446730 h 21600"/>
                <a:gd name="T26" fmla="*/ 2147483647 w 21600"/>
                <a:gd name="T27" fmla="*/ 305975791 h 21600"/>
                <a:gd name="T28" fmla="*/ 2147483647 w 21600"/>
                <a:gd name="T29" fmla="*/ 438572572 h 21600"/>
                <a:gd name="T30" fmla="*/ 2147483647 w 21600"/>
                <a:gd name="T31" fmla="*/ 485463516 h 21600"/>
                <a:gd name="T32" fmla="*/ 2147483647 w 21600"/>
                <a:gd name="T33" fmla="*/ 293983121 h 21600"/>
                <a:gd name="T34" fmla="*/ 2147483647 w 21600"/>
                <a:gd name="T35" fmla="*/ 239679267 h 21600"/>
                <a:gd name="T36" fmla="*/ 2147483647 w 21600"/>
                <a:gd name="T37" fmla="*/ 425706747 h 21600"/>
                <a:gd name="T38" fmla="*/ 2147483647 w 21600"/>
                <a:gd name="T39" fmla="*/ 222885869 h 21600"/>
                <a:gd name="T40" fmla="*/ 2147483647 w 21600"/>
                <a:gd name="T41" fmla="*/ 11123127 h 21600"/>
                <a:gd name="T42" fmla="*/ 2147483647 w 21600"/>
                <a:gd name="T43" fmla="*/ 268682631 h 21600"/>
                <a:gd name="T44" fmla="*/ 2147483647 w 21600"/>
                <a:gd name="T45" fmla="*/ 670621453 h 21600"/>
                <a:gd name="T46" fmla="*/ 2147483647 w 21600"/>
                <a:gd name="T47" fmla="*/ 878239327 h 21600"/>
                <a:gd name="T48" fmla="*/ 2147483647 w 21600"/>
                <a:gd name="T49" fmla="*/ 1222598910 h 21600"/>
                <a:gd name="T50" fmla="*/ 2147483647 w 21600"/>
                <a:gd name="T51" fmla="*/ 1322264754 h 21600"/>
                <a:gd name="T52" fmla="*/ 2147483647 w 21600"/>
                <a:gd name="T53" fmla="*/ 1757569224 h 21600"/>
                <a:gd name="T54" fmla="*/ 2147483647 w 21600"/>
                <a:gd name="T55" fmla="*/ 2130935783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2147483647 w 21600"/>
                <a:gd name="T69" fmla="*/ 2147483647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1935340406 w 21600"/>
                <a:gd name="T87" fmla="*/ 2147483647 h 21600"/>
                <a:gd name="T88" fmla="*/ 1668966527 w 21600"/>
                <a:gd name="T89" fmla="*/ 2147483647 h 21600"/>
                <a:gd name="T90" fmla="*/ 1416248401 w 21600"/>
                <a:gd name="T91" fmla="*/ 2147483647 h 21600"/>
                <a:gd name="T92" fmla="*/ 862608739 w 21600"/>
                <a:gd name="T93" fmla="*/ 2147483647 h 21600"/>
                <a:gd name="T94" fmla="*/ 0 w 21600"/>
                <a:gd name="T95" fmla="*/ 2147483647 h 21600"/>
                <a:gd name="T96" fmla="*/ 59866334 w 21600"/>
                <a:gd name="T97" fmla="*/ 2147483647 h 21600"/>
                <a:gd name="T98" fmla="*/ 54639244 w 21600"/>
                <a:gd name="T99" fmla="*/ 2147483647 h 21600"/>
                <a:gd name="T100" fmla="*/ 178787689 w 21600"/>
                <a:gd name="T101" fmla="*/ 2147483647 h 21600"/>
                <a:gd name="T102" fmla="*/ 178787689 w 21600"/>
                <a:gd name="T103" fmla="*/ 2147483647 h 216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1600" h="21600">
                  <a:moveTo>
                    <a:pt x="445" y="10844"/>
                  </a:moveTo>
                  <a:lnTo>
                    <a:pt x="1134" y="9661"/>
                  </a:lnTo>
                  <a:lnTo>
                    <a:pt x="1996" y="8616"/>
                  </a:lnTo>
                  <a:lnTo>
                    <a:pt x="2213" y="7082"/>
                  </a:lnTo>
                  <a:lnTo>
                    <a:pt x="1789" y="5606"/>
                  </a:lnTo>
                  <a:lnTo>
                    <a:pt x="1746" y="4345"/>
                  </a:lnTo>
                  <a:lnTo>
                    <a:pt x="2142" y="3199"/>
                  </a:lnTo>
                  <a:lnTo>
                    <a:pt x="2988" y="2269"/>
                  </a:lnTo>
                  <a:lnTo>
                    <a:pt x="2979" y="1149"/>
                  </a:lnTo>
                  <a:lnTo>
                    <a:pt x="3849" y="283"/>
                  </a:lnTo>
                  <a:lnTo>
                    <a:pt x="5528" y="0"/>
                  </a:lnTo>
                  <a:lnTo>
                    <a:pt x="6666" y="484"/>
                  </a:lnTo>
                  <a:lnTo>
                    <a:pt x="7793" y="1451"/>
                  </a:lnTo>
                  <a:lnTo>
                    <a:pt x="9465" y="1403"/>
                  </a:lnTo>
                  <a:lnTo>
                    <a:pt x="11258" y="2011"/>
                  </a:lnTo>
                  <a:lnTo>
                    <a:pt x="12641" y="2226"/>
                  </a:lnTo>
                  <a:lnTo>
                    <a:pt x="14301" y="1348"/>
                  </a:lnTo>
                  <a:lnTo>
                    <a:pt x="16279" y="1099"/>
                  </a:lnTo>
                  <a:lnTo>
                    <a:pt x="17640" y="1952"/>
                  </a:lnTo>
                  <a:lnTo>
                    <a:pt x="18700" y="1022"/>
                  </a:lnTo>
                  <a:lnTo>
                    <a:pt x="19681" y="51"/>
                  </a:lnTo>
                  <a:lnTo>
                    <a:pt x="20185" y="1232"/>
                  </a:lnTo>
                  <a:lnTo>
                    <a:pt x="20666" y="3075"/>
                  </a:lnTo>
                  <a:lnTo>
                    <a:pt x="21521" y="4027"/>
                  </a:lnTo>
                  <a:lnTo>
                    <a:pt x="21600" y="5606"/>
                  </a:lnTo>
                  <a:lnTo>
                    <a:pt x="20401" y="6063"/>
                  </a:lnTo>
                  <a:lnTo>
                    <a:pt x="19609" y="8059"/>
                  </a:lnTo>
                  <a:lnTo>
                    <a:pt x="19133" y="9771"/>
                  </a:lnTo>
                  <a:lnTo>
                    <a:pt x="18357" y="10530"/>
                  </a:lnTo>
                  <a:lnTo>
                    <a:pt x="18082" y="11771"/>
                  </a:lnTo>
                  <a:lnTo>
                    <a:pt x="17325" y="12313"/>
                  </a:lnTo>
                  <a:lnTo>
                    <a:pt x="16876" y="14007"/>
                  </a:lnTo>
                  <a:lnTo>
                    <a:pt x="16362" y="15686"/>
                  </a:lnTo>
                  <a:lnTo>
                    <a:pt x="15186" y="16888"/>
                  </a:lnTo>
                  <a:lnTo>
                    <a:pt x="14357" y="15325"/>
                  </a:lnTo>
                  <a:lnTo>
                    <a:pt x="13266" y="15566"/>
                  </a:lnTo>
                  <a:lnTo>
                    <a:pt x="12391" y="16650"/>
                  </a:lnTo>
                  <a:lnTo>
                    <a:pt x="11315" y="18111"/>
                  </a:lnTo>
                  <a:lnTo>
                    <a:pt x="10926" y="19955"/>
                  </a:lnTo>
                  <a:lnTo>
                    <a:pt x="9408" y="21030"/>
                  </a:lnTo>
                  <a:lnTo>
                    <a:pt x="8099" y="21368"/>
                  </a:lnTo>
                  <a:lnTo>
                    <a:pt x="6867" y="21600"/>
                  </a:lnTo>
                  <a:lnTo>
                    <a:pt x="5480" y="21188"/>
                  </a:lnTo>
                  <a:lnTo>
                    <a:pt x="4817" y="19467"/>
                  </a:lnTo>
                  <a:lnTo>
                    <a:pt x="4154" y="18232"/>
                  </a:lnTo>
                  <a:lnTo>
                    <a:pt x="3525" y="17091"/>
                  </a:lnTo>
                  <a:lnTo>
                    <a:pt x="2147" y="16922"/>
                  </a:lnTo>
                  <a:lnTo>
                    <a:pt x="0" y="16601"/>
                  </a:lnTo>
                  <a:lnTo>
                    <a:pt x="149" y="14219"/>
                  </a:lnTo>
                  <a:lnTo>
                    <a:pt x="136" y="12301"/>
                  </a:lnTo>
                  <a:lnTo>
                    <a:pt x="445" y="10844"/>
                  </a:lnTo>
                  <a:close/>
                  <a:moveTo>
                    <a:pt x="445" y="10844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DE257975-763C-4D30-FAE2-509C6796B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094" y="1227704"/>
              <a:ext cx="1135935" cy="952899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1672474366 h 21600"/>
                <a:gd name="T16" fmla="*/ 2147483647 w 21600"/>
                <a:gd name="T17" fmla="*/ 1229086108 h 21600"/>
                <a:gd name="T18" fmla="*/ 2147483647 w 21600"/>
                <a:gd name="T19" fmla="*/ 1119384234 h 21600"/>
                <a:gd name="T20" fmla="*/ 2147483647 w 21600"/>
                <a:gd name="T21" fmla="*/ 939620317 h 21600"/>
                <a:gd name="T22" fmla="*/ 2147483647 w 21600"/>
                <a:gd name="T23" fmla="*/ 522646977 h 21600"/>
                <a:gd name="T24" fmla="*/ 2147483647 w 21600"/>
                <a:gd name="T25" fmla="*/ 377340572 h 21600"/>
                <a:gd name="T26" fmla="*/ 2147483647 w 21600"/>
                <a:gd name="T27" fmla="*/ 381935378 h 21600"/>
                <a:gd name="T28" fmla="*/ 2147483647 w 21600"/>
                <a:gd name="T29" fmla="*/ 531263038 h 21600"/>
                <a:gd name="T30" fmla="*/ 2147483647 w 21600"/>
                <a:gd name="T31" fmla="*/ 913198416 h 21600"/>
                <a:gd name="T32" fmla="*/ 2147483647 w 21600"/>
                <a:gd name="T33" fmla="*/ 150591441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1944707953 h 21600"/>
                <a:gd name="T42" fmla="*/ 2147483647 w 21600"/>
                <a:gd name="T43" fmla="*/ 1830418171 h 21600"/>
                <a:gd name="T44" fmla="*/ 2147483647 w 21600"/>
                <a:gd name="T45" fmla="*/ 1694301461 h 21600"/>
                <a:gd name="T46" fmla="*/ 2147483647 w 21600"/>
                <a:gd name="T47" fmla="*/ 728832794 h 21600"/>
                <a:gd name="T48" fmla="*/ 2147483647 w 21600"/>
                <a:gd name="T49" fmla="*/ 469810158 h 21600"/>
                <a:gd name="T50" fmla="*/ 2147483647 w 21600"/>
                <a:gd name="T51" fmla="*/ 338288171 h 21600"/>
                <a:gd name="T52" fmla="*/ 2147483647 w 21600"/>
                <a:gd name="T53" fmla="*/ 360108283 h 21600"/>
                <a:gd name="T54" fmla="*/ 2147483647 w 21600"/>
                <a:gd name="T55" fmla="*/ 0 h 21600"/>
                <a:gd name="T56" fmla="*/ 2147483647 w 21600"/>
                <a:gd name="T57" fmla="*/ 711033937 h 21600"/>
                <a:gd name="T58" fmla="*/ 2042869411 w 21600"/>
                <a:gd name="T59" fmla="*/ 952831267 h 21600"/>
                <a:gd name="T60" fmla="*/ 1319880483 w 21600"/>
                <a:gd name="T61" fmla="*/ 1325576950 h 21600"/>
                <a:gd name="T62" fmla="*/ 1272492586 w 21600"/>
                <a:gd name="T63" fmla="*/ 2094042512 h 21600"/>
                <a:gd name="T64" fmla="*/ 1027929722 w 21600"/>
                <a:gd name="T65" fmla="*/ 2147483647 h 21600"/>
                <a:gd name="T66" fmla="*/ 406587787 w 21600"/>
                <a:gd name="T67" fmla="*/ 2147483647 h 21600"/>
                <a:gd name="T68" fmla="*/ 640450986 w 21600"/>
                <a:gd name="T69" fmla="*/ 2147483647 h 21600"/>
                <a:gd name="T70" fmla="*/ 697769453 w 21600"/>
                <a:gd name="T71" fmla="*/ 2147483647 h 21600"/>
                <a:gd name="T72" fmla="*/ 709229800 w 21600"/>
                <a:gd name="T73" fmla="*/ 2147483647 h 21600"/>
                <a:gd name="T74" fmla="*/ 507465685 w 21600"/>
                <a:gd name="T75" fmla="*/ 2147483647 h 21600"/>
                <a:gd name="T76" fmla="*/ 512054834 w 21600"/>
                <a:gd name="T77" fmla="*/ 2147483647 h 21600"/>
                <a:gd name="T78" fmla="*/ 0 w 21600"/>
                <a:gd name="T79" fmla="*/ 2147483647 h 21600"/>
                <a:gd name="T80" fmla="*/ 528865013 w 21600"/>
                <a:gd name="T81" fmla="*/ 2147483647 h 21600"/>
                <a:gd name="T82" fmla="*/ 582363425 w 21600"/>
                <a:gd name="T83" fmla="*/ 2147483647 h 21600"/>
                <a:gd name="T84" fmla="*/ 1436807877 w 21600"/>
                <a:gd name="T85" fmla="*/ 2147483647 h 21600"/>
                <a:gd name="T86" fmla="*/ 199854097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2147483647 w 21600"/>
                <a:gd name="T103" fmla="*/ 2147483647 h 21600"/>
                <a:gd name="T104" fmla="*/ 2147483647 w 21600"/>
                <a:gd name="T105" fmla="*/ 2147483647 h 21600"/>
                <a:gd name="T106" fmla="*/ 2147483647 w 21600"/>
                <a:gd name="T107" fmla="*/ 2147483647 h 21600"/>
                <a:gd name="T108" fmla="*/ 2147483647 w 21600"/>
                <a:gd name="T109" fmla="*/ 2147483647 h 21600"/>
                <a:gd name="T110" fmla="*/ 2147483647 w 21600"/>
                <a:gd name="T111" fmla="*/ 2147483647 h 21600"/>
                <a:gd name="T112" fmla="*/ 2147483647 w 21600"/>
                <a:gd name="T113" fmla="*/ 2147483647 h 21600"/>
                <a:gd name="T114" fmla="*/ 2147483647 w 21600"/>
                <a:gd name="T115" fmla="*/ 2147483647 h 21600"/>
                <a:gd name="T116" fmla="*/ 2147483647 w 21600"/>
                <a:gd name="T117" fmla="*/ 2147483647 h 216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1600" h="21600">
                  <a:moveTo>
                    <a:pt x="21600" y="17815"/>
                  </a:moveTo>
                  <a:lnTo>
                    <a:pt x="21521" y="15865"/>
                  </a:lnTo>
                  <a:lnTo>
                    <a:pt x="21482" y="12831"/>
                  </a:lnTo>
                  <a:lnTo>
                    <a:pt x="21350" y="9262"/>
                  </a:lnTo>
                  <a:lnTo>
                    <a:pt x="21232" y="6136"/>
                  </a:lnTo>
                  <a:lnTo>
                    <a:pt x="20681" y="4968"/>
                  </a:lnTo>
                  <a:lnTo>
                    <a:pt x="20980" y="4013"/>
                  </a:lnTo>
                  <a:lnTo>
                    <a:pt x="20896" y="2912"/>
                  </a:lnTo>
                  <a:lnTo>
                    <a:pt x="21035" y="2140"/>
                  </a:lnTo>
                  <a:lnTo>
                    <a:pt x="20090" y="1949"/>
                  </a:lnTo>
                  <a:lnTo>
                    <a:pt x="19186" y="1636"/>
                  </a:lnTo>
                  <a:lnTo>
                    <a:pt x="18422" y="910"/>
                  </a:lnTo>
                  <a:lnTo>
                    <a:pt x="17497" y="657"/>
                  </a:lnTo>
                  <a:lnTo>
                    <a:pt x="16420" y="665"/>
                  </a:lnTo>
                  <a:lnTo>
                    <a:pt x="15419" y="925"/>
                  </a:lnTo>
                  <a:lnTo>
                    <a:pt x="14655" y="1590"/>
                  </a:lnTo>
                  <a:lnTo>
                    <a:pt x="14453" y="2622"/>
                  </a:lnTo>
                  <a:lnTo>
                    <a:pt x="14495" y="3860"/>
                  </a:lnTo>
                  <a:lnTo>
                    <a:pt x="13807" y="4571"/>
                  </a:lnTo>
                  <a:lnTo>
                    <a:pt x="12299" y="3929"/>
                  </a:lnTo>
                  <a:lnTo>
                    <a:pt x="11145" y="3386"/>
                  </a:lnTo>
                  <a:lnTo>
                    <a:pt x="10179" y="3187"/>
                  </a:lnTo>
                  <a:lnTo>
                    <a:pt x="9116" y="2950"/>
                  </a:lnTo>
                  <a:lnTo>
                    <a:pt x="8546" y="1269"/>
                  </a:lnTo>
                  <a:lnTo>
                    <a:pt x="7197" y="818"/>
                  </a:lnTo>
                  <a:lnTo>
                    <a:pt x="6426" y="589"/>
                  </a:lnTo>
                  <a:lnTo>
                    <a:pt x="5077" y="627"/>
                  </a:lnTo>
                  <a:lnTo>
                    <a:pt x="3534" y="0"/>
                  </a:lnTo>
                  <a:lnTo>
                    <a:pt x="3548" y="1238"/>
                  </a:lnTo>
                  <a:lnTo>
                    <a:pt x="2673" y="1659"/>
                  </a:lnTo>
                  <a:lnTo>
                    <a:pt x="1727" y="2308"/>
                  </a:lnTo>
                  <a:lnTo>
                    <a:pt x="1665" y="3646"/>
                  </a:lnTo>
                  <a:lnTo>
                    <a:pt x="1345" y="4349"/>
                  </a:lnTo>
                  <a:lnTo>
                    <a:pt x="532" y="4533"/>
                  </a:lnTo>
                  <a:lnTo>
                    <a:pt x="838" y="5526"/>
                  </a:lnTo>
                  <a:lnTo>
                    <a:pt x="913" y="6838"/>
                  </a:lnTo>
                  <a:lnTo>
                    <a:pt x="928" y="8270"/>
                  </a:lnTo>
                  <a:lnTo>
                    <a:pt x="664" y="9485"/>
                  </a:lnTo>
                  <a:lnTo>
                    <a:pt x="670" y="10392"/>
                  </a:lnTo>
                  <a:lnTo>
                    <a:pt x="0" y="10783"/>
                  </a:lnTo>
                  <a:lnTo>
                    <a:pt x="692" y="11801"/>
                  </a:lnTo>
                  <a:lnTo>
                    <a:pt x="762" y="13340"/>
                  </a:lnTo>
                  <a:lnTo>
                    <a:pt x="1880" y="13598"/>
                  </a:lnTo>
                  <a:lnTo>
                    <a:pt x="2615" y="14005"/>
                  </a:lnTo>
                  <a:lnTo>
                    <a:pt x="3258" y="15132"/>
                  </a:lnTo>
                  <a:lnTo>
                    <a:pt x="4646" y="15450"/>
                  </a:lnTo>
                  <a:lnTo>
                    <a:pt x="5632" y="15830"/>
                  </a:lnTo>
                  <a:lnTo>
                    <a:pt x="6568" y="16503"/>
                  </a:lnTo>
                  <a:lnTo>
                    <a:pt x="7637" y="16093"/>
                  </a:lnTo>
                  <a:lnTo>
                    <a:pt x="8383" y="15412"/>
                  </a:lnTo>
                  <a:lnTo>
                    <a:pt x="9298" y="15481"/>
                  </a:lnTo>
                  <a:lnTo>
                    <a:pt x="11030" y="16331"/>
                  </a:lnTo>
                  <a:lnTo>
                    <a:pt x="14007" y="18018"/>
                  </a:lnTo>
                  <a:lnTo>
                    <a:pt x="17234" y="19820"/>
                  </a:lnTo>
                  <a:lnTo>
                    <a:pt x="20134" y="21600"/>
                  </a:lnTo>
                  <a:lnTo>
                    <a:pt x="20113" y="20795"/>
                  </a:lnTo>
                  <a:lnTo>
                    <a:pt x="21450" y="20725"/>
                  </a:lnTo>
                  <a:lnTo>
                    <a:pt x="21600" y="17815"/>
                  </a:lnTo>
                  <a:close/>
                  <a:moveTo>
                    <a:pt x="21600" y="17815"/>
                  </a:moveTo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E3E85CF5-9129-0797-2AE3-8819CF5DF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847" y="4748628"/>
              <a:ext cx="1005358" cy="827362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956008663 h 21600"/>
                <a:gd name="T16" fmla="*/ 2147483647 w 21600"/>
                <a:gd name="T17" fmla="*/ 893226279 h 21600"/>
                <a:gd name="T18" fmla="*/ 2147483647 w 21600"/>
                <a:gd name="T19" fmla="*/ 840215684 h 21600"/>
                <a:gd name="T20" fmla="*/ 2147483647 w 21600"/>
                <a:gd name="T21" fmla="*/ 724052820 h 21600"/>
                <a:gd name="T22" fmla="*/ 2147483647 w 21600"/>
                <a:gd name="T23" fmla="*/ 1065030207 h 21600"/>
                <a:gd name="T24" fmla="*/ 2147483647 w 21600"/>
                <a:gd name="T25" fmla="*/ 787210285 h 21600"/>
                <a:gd name="T26" fmla="*/ 2147483647 w 21600"/>
                <a:gd name="T27" fmla="*/ 694732112 h 21600"/>
                <a:gd name="T28" fmla="*/ 2147483647 w 21600"/>
                <a:gd name="T29" fmla="*/ 390221951 h 21600"/>
                <a:gd name="T30" fmla="*/ 2147483647 w 21600"/>
                <a:gd name="T31" fmla="*/ 380450161 h 21600"/>
                <a:gd name="T32" fmla="*/ 2147483647 w 21600"/>
                <a:gd name="T33" fmla="*/ 410145878 h 21600"/>
                <a:gd name="T34" fmla="*/ 2147483647 w 21600"/>
                <a:gd name="T35" fmla="*/ 519167349 h 21600"/>
                <a:gd name="T36" fmla="*/ 2147483647 w 21600"/>
                <a:gd name="T37" fmla="*/ 549243343 h 21600"/>
                <a:gd name="T38" fmla="*/ 2147483647 w 21600"/>
                <a:gd name="T39" fmla="*/ 536835816 h 21600"/>
                <a:gd name="T40" fmla="*/ 2147483647 w 21600"/>
                <a:gd name="T41" fmla="*/ 255635408 h 21600"/>
                <a:gd name="T42" fmla="*/ 2147483647 w 21600"/>
                <a:gd name="T43" fmla="*/ 255635408 h 21600"/>
                <a:gd name="T44" fmla="*/ 1913238499 w 21600"/>
                <a:gd name="T45" fmla="*/ 287216703 h 21600"/>
                <a:gd name="T46" fmla="*/ 1327243928 w 21600"/>
                <a:gd name="T47" fmla="*/ 0 h 21600"/>
                <a:gd name="T48" fmla="*/ 0 w 21600"/>
                <a:gd name="T49" fmla="*/ 271048413 h 21600"/>
                <a:gd name="T50" fmla="*/ 0 w 21600"/>
                <a:gd name="T51" fmla="*/ 790596039 h 21600"/>
                <a:gd name="T52" fmla="*/ 378305213 w 21600"/>
                <a:gd name="T53" fmla="*/ 1266904859 h 21600"/>
                <a:gd name="T54" fmla="*/ 798463943 w 21600"/>
                <a:gd name="T55" fmla="*/ 1812767717 h 21600"/>
                <a:gd name="T56" fmla="*/ 1285383855 w 21600"/>
                <a:gd name="T57" fmla="*/ 2147483647 h 21600"/>
                <a:gd name="T58" fmla="*/ 1568320472 w 21600"/>
                <a:gd name="T59" fmla="*/ 2147483647 h 21600"/>
                <a:gd name="T60" fmla="*/ 1892580268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2147483647 w 21600"/>
                <a:gd name="T69" fmla="*/ 2147483647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1600" h="21600">
                  <a:moveTo>
                    <a:pt x="13200" y="20542"/>
                  </a:moveTo>
                  <a:lnTo>
                    <a:pt x="13311" y="15585"/>
                  </a:lnTo>
                  <a:lnTo>
                    <a:pt x="13158" y="12544"/>
                  </a:lnTo>
                  <a:lnTo>
                    <a:pt x="13292" y="9292"/>
                  </a:lnTo>
                  <a:lnTo>
                    <a:pt x="14650" y="9055"/>
                  </a:lnTo>
                  <a:lnTo>
                    <a:pt x="14636" y="7398"/>
                  </a:lnTo>
                  <a:lnTo>
                    <a:pt x="14729" y="5745"/>
                  </a:lnTo>
                  <a:lnTo>
                    <a:pt x="14672" y="2543"/>
                  </a:lnTo>
                  <a:lnTo>
                    <a:pt x="16043" y="2376"/>
                  </a:lnTo>
                  <a:lnTo>
                    <a:pt x="17440" y="2235"/>
                  </a:lnTo>
                  <a:lnTo>
                    <a:pt x="18472" y="1926"/>
                  </a:lnTo>
                  <a:lnTo>
                    <a:pt x="19144" y="2833"/>
                  </a:lnTo>
                  <a:lnTo>
                    <a:pt x="19859" y="2094"/>
                  </a:lnTo>
                  <a:lnTo>
                    <a:pt x="21600" y="1848"/>
                  </a:lnTo>
                  <a:lnTo>
                    <a:pt x="21043" y="1038"/>
                  </a:lnTo>
                  <a:lnTo>
                    <a:pt x="19786" y="1012"/>
                  </a:lnTo>
                  <a:lnTo>
                    <a:pt x="18279" y="1091"/>
                  </a:lnTo>
                  <a:lnTo>
                    <a:pt x="16434" y="1381"/>
                  </a:lnTo>
                  <a:lnTo>
                    <a:pt x="14422" y="1461"/>
                  </a:lnTo>
                  <a:lnTo>
                    <a:pt x="11944" y="1428"/>
                  </a:lnTo>
                  <a:lnTo>
                    <a:pt x="10475" y="680"/>
                  </a:lnTo>
                  <a:lnTo>
                    <a:pt x="7336" y="680"/>
                  </a:lnTo>
                  <a:lnTo>
                    <a:pt x="3611" y="764"/>
                  </a:lnTo>
                  <a:lnTo>
                    <a:pt x="2505" y="0"/>
                  </a:lnTo>
                  <a:lnTo>
                    <a:pt x="0" y="721"/>
                  </a:lnTo>
                  <a:lnTo>
                    <a:pt x="0" y="2103"/>
                  </a:lnTo>
                  <a:lnTo>
                    <a:pt x="714" y="3370"/>
                  </a:lnTo>
                  <a:lnTo>
                    <a:pt x="1507" y="4822"/>
                  </a:lnTo>
                  <a:lnTo>
                    <a:pt x="2426" y="6323"/>
                  </a:lnTo>
                  <a:lnTo>
                    <a:pt x="2960" y="7634"/>
                  </a:lnTo>
                  <a:lnTo>
                    <a:pt x="3572" y="8874"/>
                  </a:lnTo>
                  <a:lnTo>
                    <a:pt x="4342" y="9842"/>
                  </a:lnTo>
                  <a:lnTo>
                    <a:pt x="4562" y="11153"/>
                  </a:lnTo>
                  <a:lnTo>
                    <a:pt x="4632" y="12795"/>
                  </a:lnTo>
                  <a:lnTo>
                    <a:pt x="5150" y="14238"/>
                  </a:lnTo>
                  <a:lnTo>
                    <a:pt x="5441" y="16341"/>
                  </a:lnTo>
                  <a:lnTo>
                    <a:pt x="5708" y="18301"/>
                  </a:lnTo>
                  <a:lnTo>
                    <a:pt x="6226" y="19313"/>
                  </a:lnTo>
                  <a:lnTo>
                    <a:pt x="6948" y="20410"/>
                  </a:lnTo>
                  <a:lnTo>
                    <a:pt x="7839" y="21205"/>
                  </a:lnTo>
                  <a:lnTo>
                    <a:pt x="8336" y="20293"/>
                  </a:lnTo>
                  <a:lnTo>
                    <a:pt x="9173" y="20240"/>
                  </a:lnTo>
                  <a:lnTo>
                    <a:pt x="9268" y="21240"/>
                  </a:lnTo>
                  <a:lnTo>
                    <a:pt x="10424" y="21591"/>
                  </a:lnTo>
                  <a:lnTo>
                    <a:pt x="11877" y="21600"/>
                  </a:lnTo>
                  <a:lnTo>
                    <a:pt x="13200" y="20542"/>
                  </a:lnTo>
                  <a:close/>
                  <a:moveTo>
                    <a:pt x="13200" y="20542"/>
                  </a:moveTo>
                </a:path>
              </a:pathLst>
            </a:custGeom>
            <a:solidFill>
              <a:srgbClr val="FFFF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3695887B-1B93-4DC4-F104-F96AAB04D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71" y="1753441"/>
              <a:ext cx="1234553" cy="1059900"/>
            </a:xfrm>
            <a:custGeom>
              <a:avLst/>
              <a:gdLst>
                <a:gd name="T0" fmla="*/ 2020069141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2147483647 w 21600"/>
                <a:gd name="T17" fmla="*/ 0 h 21600"/>
                <a:gd name="T18" fmla="*/ 2147483647 w 21600"/>
                <a:gd name="T19" fmla="*/ 10275136 h 21600"/>
                <a:gd name="T20" fmla="*/ 2147483647 w 21600"/>
                <a:gd name="T21" fmla="*/ 2147483647 h 21600"/>
                <a:gd name="T22" fmla="*/ 2147483647 w 21600"/>
                <a:gd name="T23" fmla="*/ 2147483647 h 21600"/>
                <a:gd name="T24" fmla="*/ 2147483647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147483647 w 21600"/>
                <a:gd name="T47" fmla="*/ 2147483647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2147483647 w 21600"/>
                <a:gd name="T69" fmla="*/ 2147483647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1761066177 w 21600"/>
                <a:gd name="T101" fmla="*/ 2147483647 h 21600"/>
                <a:gd name="T102" fmla="*/ 1496168738 w 21600"/>
                <a:gd name="T103" fmla="*/ 2147483647 h 21600"/>
                <a:gd name="T104" fmla="*/ 952639627 w 21600"/>
                <a:gd name="T105" fmla="*/ 2147483647 h 21600"/>
                <a:gd name="T106" fmla="*/ 986979831 w 21600"/>
                <a:gd name="T107" fmla="*/ 2147483647 h 21600"/>
                <a:gd name="T108" fmla="*/ 961466584 w 21600"/>
                <a:gd name="T109" fmla="*/ 2147483647 h 21600"/>
                <a:gd name="T110" fmla="*/ 266852460 w 21600"/>
                <a:gd name="T111" fmla="*/ 2147483647 h 21600"/>
                <a:gd name="T112" fmla="*/ 308064600 w 21600"/>
                <a:gd name="T113" fmla="*/ 2147483647 h 21600"/>
                <a:gd name="T114" fmla="*/ 0 w 21600"/>
                <a:gd name="T115" fmla="*/ 2147483647 h 21600"/>
                <a:gd name="T116" fmla="*/ 829022783 w 21600"/>
                <a:gd name="T117" fmla="*/ 2147483647 h 21600"/>
                <a:gd name="T118" fmla="*/ 894760872 w 21600"/>
                <a:gd name="T119" fmla="*/ 2147483647 h 21600"/>
                <a:gd name="T120" fmla="*/ 2020069141 w 21600"/>
                <a:gd name="T121" fmla="*/ 2147483647 h 21600"/>
                <a:gd name="T122" fmla="*/ 2020069141 w 21600"/>
                <a:gd name="T123" fmla="*/ 2147483647 h 216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1600" h="21600">
                  <a:moveTo>
                    <a:pt x="2059" y="13815"/>
                  </a:moveTo>
                  <a:lnTo>
                    <a:pt x="3252" y="13645"/>
                  </a:lnTo>
                  <a:lnTo>
                    <a:pt x="8851" y="13699"/>
                  </a:lnTo>
                  <a:lnTo>
                    <a:pt x="9179" y="12892"/>
                  </a:lnTo>
                  <a:lnTo>
                    <a:pt x="8755" y="11918"/>
                  </a:lnTo>
                  <a:lnTo>
                    <a:pt x="8792" y="8977"/>
                  </a:lnTo>
                  <a:lnTo>
                    <a:pt x="8717" y="6131"/>
                  </a:lnTo>
                  <a:lnTo>
                    <a:pt x="8934" y="2936"/>
                  </a:lnTo>
                  <a:lnTo>
                    <a:pt x="8985" y="0"/>
                  </a:lnTo>
                  <a:lnTo>
                    <a:pt x="11131" y="13"/>
                  </a:lnTo>
                  <a:lnTo>
                    <a:pt x="16424" y="4709"/>
                  </a:lnTo>
                  <a:lnTo>
                    <a:pt x="17981" y="5933"/>
                  </a:lnTo>
                  <a:lnTo>
                    <a:pt x="18534" y="7102"/>
                  </a:lnTo>
                  <a:lnTo>
                    <a:pt x="19345" y="7316"/>
                  </a:lnTo>
                  <a:lnTo>
                    <a:pt x="19950" y="7593"/>
                  </a:lnTo>
                  <a:lnTo>
                    <a:pt x="20552" y="7937"/>
                  </a:lnTo>
                  <a:lnTo>
                    <a:pt x="20410" y="8921"/>
                  </a:lnTo>
                  <a:lnTo>
                    <a:pt x="21581" y="8951"/>
                  </a:lnTo>
                  <a:lnTo>
                    <a:pt x="21572" y="10027"/>
                  </a:lnTo>
                  <a:lnTo>
                    <a:pt x="21600" y="12159"/>
                  </a:lnTo>
                  <a:lnTo>
                    <a:pt x="21203" y="13306"/>
                  </a:lnTo>
                  <a:lnTo>
                    <a:pt x="20485" y="14260"/>
                  </a:lnTo>
                  <a:lnTo>
                    <a:pt x="17642" y="14402"/>
                  </a:lnTo>
                  <a:lnTo>
                    <a:pt x="17142" y="14879"/>
                  </a:lnTo>
                  <a:lnTo>
                    <a:pt x="16178" y="14777"/>
                  </a:lnTo>
                  <a:lnTo>
                    <a:pt x="15078" y="14599"/>
                  </a:lnTo>
                  <a:lnTo>
                    <a:pt x="14308" y="14994"/>
                  </a:lnTo>
                  <a:lnTo>
                    <a:pt x="13402" y="15254"/>
                  </a:lnTo>
                  <a:lnTo>
                    <a:pt x="12990" y="15841"/>
                  </a:lnTo>
                  <a:lnTo>
                    <a:pt x="12354" y="15726"/>
                  </a:lnTo>
                  <a:lnTo>
                    <a:pt x="12022" y="16429"/>
                  </a:lnTo>
                  <a:lnTo>
                    <a:pt x="11502" y="16987"/>
                  </a:lnTo>
                  <a:lnTo>
                    <a:pt x="10696" y="16843"/>
                  </a:lnTo>
                  <a:lnTo>
                    <a:pt x="10086" y="17228"/>
                  </a:lnTo>
                  <a:lnTo>
                    <a:pt x="9934" y="18374"/>
                  </a:lnTo>
                  <a:lnTo>
                    <a:pt x="9441" y="18961"/>
                  </a:lnTo>
                  <a:lnTo>
                    <a:pt x="8877" y="19161"/>
                  </a:lnTo>
                  <a:lnTo>
                    <a:pt x="8769" y="19953"/>
                  </a:lnTo>
                  <a:lnTo>
                    <a:pt x="8610" y="21353"/>
                  </a:lnTo>
                  <a:lnTo>
                    <a:pt x="7613" y="21600"/>
                  </a:lnTo>
                  <a:lnTo>
                    <a:pt x="7478" y="20762"/>
                  </a:lnTo>
                  <a:lnTo>
                    <a:pt x="6698" y="21340"/>
                  </a:lnTo>
                  <a:lnTo>
                    <a:pt x="5757" y="21220"/>
                  </a:lnTo>
                  <a:lnTo>
                    <a:pt x="4833" y="21268"/>
                  </a:lnTo>
                  <a:lnTo>
                    <a:pt x="4538" y="20324"/>
                  </a:lnTo>
                  <a:lnTo>
                    <a:pt x="4394" y="19525"/>
                  </a:lnTo>
                  <a:lnTo>
                    <a:pt x="4278" y="18148"/>
                  </a:lnTo>
                  <a:lnTo>
                    <a:pt x="3507" y="18022"/>
                  </a:lnTo>
                  <a:lnTo>
                    <a:pt x="3184" y="18668"/>
                  </a:lnTo>
                  <a:lnTo>
                    <a:pt x="2432" y="18475"/>
                  </a:lnTo>
                  <a:lnTo>
                    <a:pt x="1795" y="18947"/>
                  </a:lnTo>
                  <a:lnTo>
                    <a:pt x="1525" y="18345"/>
                  </a:lnTo>
                  <a:lnTo>
                    <a:pt x="971" y="18793"/>
                  </a:lnTo>
                  <a:lnTo>
                    <a:pt x="1006" y="17993"/>
                  </a:lnTo>
                  <a:lnTo>
                    <a:pt x="980" y="16867"/>
                  </a:lnTo>
                  <a:lnTo>
                    <a:pt x="272" y="16414"/>
                  </a:lnTo>
                  <a:lnTo>
                    <a:pt x="314" y="15547"/>
                  </a:lnTo>
                  <a:lnTo>
                    <a:pt x="0" y="14629"/>
                  </a:lnTo>
                  <a:lnTo>
                    <a:pt x="845" y="14373"/>
                  </a:lnTo>
                  <a:lnTo>
                    <a:pt x="912" y="13125"/>
                  </a:lnTo>
                  <a:lnTo>
                    <a:pt x="2059" y="13815"/>
                  </a:lnTo>
                  <a:close/>
                  <a:moveTo>
                    <a:pt x="2059" y="13815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F5CD8E16-D494-4467-5DD0-7E393072A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022" y="4311356"/>
              <a:ext cx="792598" cy="1146680"/>
            </a:xfrm>
            <a:custGeom>
              <a:avLst/>
              <a:gdLst>
                <a:gd name="T0" fmla="*/ 734205443 w 21600"/>
                <a:gd name="T1" fmla="*/ 2147483647 h 21600"/>
                <a:gd name="T2" fmla="*/ 692149452 w 21600"/>
                <a:gd name="T3" fmla="*/ 2147483647 h 21600"/>
                <a:gd name="T4" fmla="*/ 515607072 w 21600"/>
                <a:gd name="T5" fmla="*/ 2147483647 h 21600"/>
                <a:gd name="T6" fmla="*/ 975655073 w 21600"/>
                <a:gd name="T7" fmla="*/ 2147483647 h 21600"/>
                <a:gd name="T8" fmla="*/ 1402990988 w 21600"/>
                <a:gd name="T9" fmla="*/ 2147483647 h 21600"/>
                <a:gd name="T10" fmla="*/ 1352103805 w 21600"/>
                <a:gd name="T11" fmla="*/ 2147483647 h 21600"/>
                <a:gd name="T12" fmla="*/ 1393903408 w 21600"/>
                <a:gd name="T13" fmla="*/ 2147483647 h 21600"/>
                <a:gd name="T14" fmla="*/ 567011114 w 21600"/>
                <a:gd name="T15" fmla="*/ 2147483647 h 21600"/>
                <a:gd name="T16" fmla="*/ 60491622 w 21600"/>
                <a:gd name="T17" fmla="*/ 2147483647 h 21600"/>
                <a:gd name="T18" fmla="*/ 348412744 w 21600"/>
                <a:gd name="T19" fmla="*/ 2147483647 h 21600"/>
                <a:gd name="T20" fmla="*/ 1602897339 w 21600"/>
                <a:gd name="T21" fmla="*/ 2147483647 h 21600"/>
                <a:gd name="T22" fmla="*/ 2147483647 w 21600"/>
                <a:gd name="T23" fmla="*/ 2147483647 h 21600"/>
                <a:gd name="T24" fmla="*/ 2147483647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1348103684 h 21600"/>
                <a:gd name="T40" fmla="*/ 2147483647 w 21600"/>
                <a:gd name="T41" fmla="*/ 1348103684 h 21600"/>
                <a:gd name="T42" fmla="*/ 2147483647 w 21600"/>
                <a:gd name="T43" fmla="*/ 902741279 h 21600"/>
                <a:gd name="T44" fmla="*/ 2147483647 w 21600"/>
                <a:gd name="T45" fmla="*/ 651534614 h 21600"/>
                <a:gd name="T46" fmla="*/ 2147483647 w 21600"/>
                <a:gd name="T47" fmla="*/ 0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1435703010 w 21600"/>
                <a:gd name="T69" fmla="*/ 2147483647 h 21600"/>
                <a:gd name="T70" fmla="*/ 933855470 w 21600"/>
                <a:gd name="T71" fmla="*/ 2147483647 h 21600"/>
                <a:gd name="T72" fmla="*/ 993826151 w 21600"/>
                <a:gd name="T73" fmla="*/ 2147483647 h 216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1600" h="21600">
                  <a:moveTo>
                    <a:pt x="3828" y="21600"/>
                  </a:moveTo>
                  <a:lnTo>
                    <a:pt x="2828" y="21446"/>
                  </a:lnTo>
                  <a:lnTo>
                    <a:pt x="2613" y="20293"/>
                  </a:lnTo>
                  <a:lnTo>
                    <a:pt x="2666" y="19197"/>
                  </a:lnTo>
                  <a:lnTo>
                    <a:pt x="2720" y="18021"/>
                  </a:lnTo>
                  <a:lnTo>
                    <a:pt x="1986" y="17210"/>
                  </a:lnTo>
                  <a:lnTo>
                    <a:pt x="1682" y="15502"/>
                  </a:lnTo>
                  <a:lnTo>
                    <a:pt x="3758" y="14280"/>
                  </a:lnTo>
                  <a:lnTo>
                    <a:pt x="4205" y="13184"/>
                  </a:lnTo>
                  <a:lnTo>
                    <a:pt x="5404" y="12259"/>
                  </a:lnTo>
                  <a:lnTo>
                    <a:pt x="4939" y="11483"/>
                  </a:lnTo>
                  <a:lnTo>
                    <a:pt x="5208" y="10706"/>
                  </a:lnTo>
                  <a:lnTo>
                    <a:pt x="5440" y="9790"/>
                  </a:lnTo>
                  <a:lnTo>
                    <a:pt x="5369" y="7997"/>
                  </a:lnTo>
                  <a:lnTo>
                    <a:pt x="3472" y="7581"/>
                  </a:lnTo>
                  <a:lnTo>
                    <a:pt x="2184" y="7278"/>
                  </a:lnTo>
                  <a:lnTo>
                    <a:pt x="251" y="6988"/>
                  </a:lnTo>
                  <a:lnTo>
                    <a:pt x="233" y="6348"/>
                  </a:lnTo>
                  <a:lnTo>
                    <a:pt x="0" y="5686"/>
                  </a:lnTo>
                  <a:lnTo>
                    <a:pt x="1342" y="5492"/>
                  </a:lnTo>
                  <a:lnTo>
                    <a:pt x="3579" y="5024"/>
                  </a:lnTo>
                  <a:lnTo>
                    <a:pt x="6174" y="4556"/>
                  </a:lnTo>
                  <a:lnTo>
                    <a:pt x="7087" y="5035"/>
                  </a:lnTo>
                  <a:lnTo>
                    <a:pt x="8805" y="5035"/>
                  </a:lnTo>
                  <a:lnTo>
                    <a:pt x="9001" y="5983"/>
                  </a:lnTo>
                  <a:lnTo>
                    <a:pt x="8321" y="6839"/>
                  </a:lnTo>
                  <a:lnTo>
                    <a:pt x="8733" y="7479"/>
                  </a:lnTo>
                  <a:lnTo>
                    <a:pt x="9431" y="7970"/>
                  </a:lnTo>
                  <a:lnTo>
                    <a:pt x="9592" y="8735"/>
                  </a:lnTo>
                  <a:lnTo>
                    <a:pt x="10505" y="8335"/>
                  </a:lnTo>
                  <a:lnTo>
                    <a:pt x="10469" y="7444"/>
                  </a:lnTo>
                  <a:lnTo>
                    <a:pt x="11489" y="7205"/>
                  </a:lnTo>
                  <a:lnTo>
                    <a:pt x="11489" y="6154"/>
                  </a:lnTo>
                  <a:lnTo>
                    <a:pt x="11650" y="5469"/>
                  </a:lnTo>
                  <a:lnTo>
                    <a:pt x="10887" y="4838"/>
                  </a:lnTo>
                  <a:lnTo>
                    <a:pt x="10200" y="4133"/>
                  </a:lnTo>
                  <a:lnTo>
                    <a:pt x="9198" y="3494"/>
                  </a:lnTo>
                  <a:lnTo>
                    <a:pt x="9001" y="2478"/>
                  </a:lnTo>
                  <a:lnTo>
                    <a:pt x="9145" y="1644"/>
                  </a:lnTo>
                  <a:lnTo>
                    <a:pt x="10469" y="1347"/>
                  </a:lnTo>
                  <a:lnTo>
                    <a:pt x="12169" y="1096"/>
                  </a:lnTo>
                  <a:lnTo>
                    <a:pt x="13350" y="1347"/>
                  </a:lnTo>
                  <a:lnTo>
                    <a:pt x="15301" y="1370"/>
                  </a:lnTo>
                  <a:lnTo>
                    <a:pt x="16017" y="902"/>
                  </a:lnTo>
                  <a:lnTo>
                    <a:pt x="17305" y="856"/>
                  </a:lnTo>
                  <a:lnTo>
                    <a:pt x="19435" y="651"/>
                  </a:lnTo>
                  <a:lnTo>
                    <a:pt x="20473" y="263"/>
                  </a:lnTo>
                  <a:lnTo>
                    <a:pt x="21421" y="0"/>
                  </a:lnTo>
                  <a:lnTo>
                    <a:pt x="21475" y="913"/>
                  </a:lnTo>
                  <a:lnTo>
                    <a:pt x="21600" y="2249"/>
                  </a:lnTo>
                  <a:lnTo>
                    <a:pt x="21511" y="3608"/>
                  </a:lnTo>
                  <a:lnTo>
                    <a:pt x="21511" y="4967"/>
                  </a:lnTo>
                  <a:lnTo>
                    <a:pt x="21511" y="6200"/>
                  </a:lnTo>
                  <a:lnTo>
                    <a:pt x="20669" y="7068"/>
                  </a:lnTo>
                  <a:lnTo>
                    <a:pt x="19524" y="7821"/>
                  </a:lnTo>
                  <a:lnTo>
                    <a:pt x="17913" y="8575"/>
                  </a:lnTo>
                  <a:lnTo>
                    <a:pt x="16428" y="8815"/>
                  </a:lnTo>
                  <a:lnTo>
                    <a:pt x="14997" y="9157"/>
                  </a:lnTo>
                  <a:lnTo>
                    <a:pt x="13493" y="9708"/>
                  </a:lnTo>
                  <a:lnTo>
                    <a:pt x="12294" y="10678"/>
                  </a:lnTo>
                  <a:lnTo>
                    <a:pt x="10719" y="11158"/>
                  </a:lnTo>
                  <a:lnTo>
                    <a:pt x="9771" y="11946"/>
                  </a:lnTo>
                  <a:lnTo>
                    <a:pt x="8661" y="12368"/>
                  </a:lnTo>
                  <a:lnTo>
                    <a:pt x="9288" y="13267"/>
                  </a:lnTo>
                  <a:lnTo>
                    <a:pt x="9574" y="14557"/>
                  </a:lnTo>
                  <a:lnTo>
                    <a:pt x="9789" y="16259"/>
                  </a:lnTo>
                  <a:lnTo>
                    <a:pt x="9664" y="17754"/>
                  </a:lnTo>
                  <a:lnTo>
                    <a:pt x="8644" y="18618"/>
                  </a:lnTo>
                  <a:lnTo>
                    <a:pt x="6872" y="18880"/>
                  </a:lnTo>
                  <a:lnTo>
                    <a:pt x="5530" y="19177"/>
                  </a:lnTo>
                  <a:lnTo>
                    <a:pt x="4170" y="19634"/>
                  </a:lnTo>
                  <a:lnTo>
                    <a:pt x="3597" y="20775"/>
                  </a:lnTo>
                  <a:lnTo>
                    <a:pt x="3828" y="21600"/>
                  </a:lnTo>
                  <a:close/>
                  <a:moveTo>
                    <a:pt x="3828" y="21600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8877A0F4-91B7-25C8-1670-3F0719FF1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86" y="2771215"/>
              <a:ext cx="454739" cy="463390"/>
            </a:xfrm>
            <a:custGeom>
              <a:avLst/>
              <a:gdLst>
                <a:gd name="T0" fmla="*/ 150573610 w 21600"/>
                <a:gd name="T1" fmla="*/ 1426664220 h 21600"/>
                <a:gd name="T2" fmla="*/ 151602419 w 21600"/>
                <a:gd name="T3" fmla="*/ 1274552586 h 21600"/>
                <a:gd name="T4" fmla="*/ 166655626 w 21600"/>
                <a:gd name="T5" fmla="*/ 1109231946 h 21600"/>
                <a:gd name="T6" fmla="*/ 121546917 w 21600"/>
                <a:gd name="T7" fmla="*/ 1005137943 h 21600"/>
                <a:gd name="T8" fmla="*/ 0 w 21600"/>
                <a:gd name="T9" fmla="*/ 954280473 h 21600"/>
                <a:gd name="T10" fmla="*/ 26476064 w 21600"/>
                <a:gd name="T11" fmla="*/ 854148881 h 21600"/>
                <a:gd name="T12" fmla="*/ 15051853 w 21600"/>
                <a:gd name="T13" fmla="*/ 692658228 h 21600"/>
                <a:gd name="T14" fmla="*/ 45353860 w 21600"/>
                <a:gd name="T15" fmla="*/ 556267089 h 21600"/>
                <a:gd name="T16" fmla="*/ 147141526 w 21600"/>
                <a:gd name="T17" fmla="*/ 527007498 h 21600"/>
                <a:gd name="T18" fmla="*/ 121498677 w 21600"/>
                <a:gd name="T19" fmla="*/ 368159018 h 21600"/>
                <a:gd name="T20" fmla="*/ 86636662 w 21600"/>
                <a:gd name="T21" fmla="*/ 256138616 h 21600"/>
                <a:gd name="T22" fmla="*/ 81881024 w 21600"/>
                <a:gd name="T23" fmla="*/ 84476501 h 21600"/>
                <a:gd name="T24" fmla="*/ 207056936 w 21600"/>
                <a:gd name="T25" fmla="*/ 67172700 h 21600"/>
                <a:gd name="T26" fmla="*/ 323406152 w 21600"/>
                <a:gd name="T27" fmla="*/ 86986291 h 21600"/>
                <a:gd name="T28" fmla="*/ 454220511 w 21600"/>
                <a:gd name="T29" fmla="*/ 0 h 21600"/>
                <a:gd name="T30" fmla="*/ 467556340 w 21600"/>
                <a:gd name="T31" fmla="*/ 136721189 h 21600"/>
                <a:gd name="T32" fmla="*/ 559587578 w 21600"/>
                <a:gd name="T33" fmla="*/ 90157837 h 21600"/>
                <a:gd name="T34" fmla="*/ 634849623 w 21600"/>
                <a:gd name="T35" fmla="*/ 160168758 h 21600"/>
                <a:gd name="T36" fmla="*/ 758897575 w 21600"/>
                <a:gd name="T37" fmla="*/ 252110882 h 21600"/>
                <a:gd name="T38" fmla="*/ 868432180 w 21600"/>
                <a:gd name="T39" fmla="*/ 212415103 h 21600"/>
                <a:gd name="T40" fmla="*/ 971101301 w 21600"/>
                <a:gd name="T41" fmla="*/ 229124129 h 21600"/>
                <a:gd name="T42" fmla="*/ 1028419233 w 21600"/>
                <a:gd name="T43" fmla="*/ 326348861 h 21600"/>
                <a:gd name="T44" fmla="*/ 1059062835 w 21600"/>
                <a:gd name="T45" fmla="*/ 497020828 h 21600"/>
                <a:gd name="T46" fmla="*/ 1045677448 w 21600"/>
                <a:gd name="T47" fmla="*/ 633742016 h 21600"/>
                <a:gd name="T48" fmla="*/ 975367953 w 21600"/>
                <a:gd name="T49" fmla="*/ 783013771 h 21600"/>
                <a:gd name="T50" fmla="*/ 922071559 w 21600"/>
                <a:gd name="T51" fmla="*/ 980700225 h 21600"/>
                <a:gd name="T52" fmla="*/ 952274416 w 21600"/>
                <a:gd name="T53" fmla="*/ 1096681380 h 21600"/>
                <a:gd name="T54" fmla="*/ 1015621946 w 21600"/>
                <a:gd name="T55" fmla="*/ 1187566336 h 21600"/>
                <a:gd name="T56" fmla="*/ 1011111460 w 21600"/>
                <a:gd name="T57" fmla="*/ 1322042461 h 21600"/>
                <a:gd name="T58" fmla="*/ 805966141 w 21600"/>
                <a:gd name="T59" fmla="*/ 1273297712 h 21600"/>
                <a:gd name="T60" fmla="*/ 624601575 w 21600"/>
                <a:gd name="T61" fmla="*/ 1264908880 h 21600"/>
                <a:gd name="T62" fmla="*/ 484276013 w 21600"/>
                <a:gd name="T63" fmla="*/ 1276402277 h 21600"/>
                <a:gd name="T64" fmla="*/ 338802307 w 21600"/>
                <a:gd name="T65" fmla="*/ 1334921419 h 21600"/>
                <a:gd name="T66" fmla="*/ 150573610 w 21600"/>
                <a:gd name="T67" fmla="*/ 1426664220 h 21600"/>
                <a:gd name="T68" fmla="*/ 150573610 w 21600"/>
                <a:gd name="T69" fmla="*/ 1426664220 h 216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1600" h="21600">
                  <a:moveTo>
                    <a:pt x="3071" y="21600"/>
                  </a:moveTo>
                  <a:lnTo>
                    <a:pt x="3092" y="19297"/>
                  </a:lnTo>
                  <a:lnTo>
                    <a:pt x="3399" y="16794"/>
                  </a:lnTo>
                  <a:lnTo>
                    <a:pt x="2479" y="15218"/>
                  </a:lnTo>
                  <a:lnTo>
                    <a:pt x="0" y="14448"/>
                  </a:lnTo>
                  <a:lnTo>
                    <a:pt x="540" y="12932"/>
                  </a:lnTo>
                  <a:lnTo>
                    <a:pt x="307" y="10487"/>
                  </a:lnTo>
                  <a:lnTo>
                    <a:pt x="925" y="8422"/>
                  </a:lnTo>
                  <a:lnTo>
                    <a:pt x="3001" y="7979"/>
                  </a:lnTo>
                  <a:lnTo>
                    <a:pt x="2478" y="5574"/>
                  </a:lnTo>
                  <a:lnTo>
                    <a:pt x="1767" y="3878"/>
                  </a:lnTo>
                  <a:lnTo>
                    <a:pt x="1670" y="1279"/>
                  </a:lnTo>
                  <a:lnTo>
                    <a:pt x="4223" y="1017"/>
                  </a:lnTo>
                  <a:lnTo>
                    <a:pt x="6596" y="1317"/>
                  </a:lnTo>
                  <a:lnTo>
                    <a:pt x="9264" y="0"/>
                  </a:lnTo>
                  <a:lnTo>
                    <a:pt x="9536" y="2070"/>
                  </a:lnTo>
                  <a:lnTo>
                    <a:pt x="11413" y="1365"/>
                  </a:lnTo>
                  <a:lnTo>
                    <a:pt x="12948" y="2425"/>
                  </a:lnTo>
                  <a:lnTo>
                    <a:pt x="15478" y="3817"/>
                  </a:lnTo>
                  <a:lnTo>
                    <a:pt x="17712" y="3216"/>
                  </a:lnTo>
                  <a:lnTo>
                    <a:pt x="19806" y="3469"/>
                  </a:lnTo>
                  <a:lnTo>
                    <a:pt x="20975" y="4941"/>
                  </a:lnTo>
                  <a:lnTo>
                    <a:pt x="21600" y="7525"/>
                  </a:lnTo>
                  <a:lnTo>
                    <a:pt x="21327" y="9595"/>
                  </a:lnTo>
                  <a:lnTo>
                    <a:pt x="19893" y="11855"/>
                  </a:lnTo>
                  <a:lnTo>
                    <a:pt x="18806" y="14848"/>
                  </a:lnTo>
                  <a:lnTo>
                    <a:pt x="19422" y="16604"/>
                  </a:lnTo>
                  <a:lnTo>
                    <a:pt x="20714" y="17980"/>
                  </a:lnTo>
                  <a:lnTo>
                    <a:pt x="20622" y="20016"/>
                  </a:lnTo>
                  <a:lnTo>
                    <a:pt x="16438" y="19278"/>
                  </a:lnTo>
                  <a:lnTo>
                    <a:pt x="12739" y="19151"/>
                  </a:lnTo>
                  <a:lnTo>
                    <a:pt x="9877" y="19325"/>
                  </a:lnTo>
                  <a:lnTo>
                    <a:pt x="6910" y="20211"/>
                  </a:lnTo>
                  <a:lnTo>
                    <a:pt x="3071" y="21600"/>
                  </a:lnTo>
                  <a:close/>
                  <a:moveTo>
                    <a:pt x="3071" y="21600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EF9E590C-94AE-39C8-C336-77B45B467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638" y="4662689"/>
              <a:ext cx="578012" cy="470973"/>
            </a:xfrm>
            <a:custGeom>
              <a:avLst/>
              <a:gdLst>
                <a:gd name="T0" fmla="*/ 1034099071 w 21600"/>
                <a:gd name="T1" fmla="*/ 1463594561 h 21600"/>
                <a:gd name="T2" fmla="*/ 1018894510 w 21600"/>
                <a:gd name="T3" fmla="*/ 1341270117 h 21600"/>
                <a:gd name="T4" fmla="*/ 710175703 w 21600"/>
                <a:gd name="T5" fmla="*/ 1298345505 h 21600"/>
                <a:gd name="T6" fmla="*/ 668791159 w 21600"/>
                <a:gd name="T7" fmla="*/ 1188848930 h 21600"/>
                <a:gd name="T8" fmla="*/ 674329720 w 21600"/>
                <a:gd name="T9" fmla="*/ 1067564237 h 21600"/>
                <a:gd name="T10" fmla="*/ 550277739 w 21600"/>
                <a:gd name="T11" fmla="*/ 980606036 h 21600"/>
                <a:gd name="T12" fmla="*/ 328353807 w 21600"/>
                <a:gd name="T13" fmla="*/ 901206162 h 21600"/>
                <a:gd name="T14" fmla="*/ 205409947 w 21600"/>
                <a:gd name="T15" fmla="*/ 764943146 h 21600"/>
                <a:gd name="T16" fmla="*/ 107537996 w 21600"/>
                <a:gd name="T17" fmla="*/ 645808783 h 21600"/>
                <a:gd name="T18" fmla="*/ 0 w 21600"/>
                <a:gd name="T19" fmla="*/ 503098020 h 21600"/>
                <a:gd name="T20" fmla="*/ 201282556 w 21600"/>
                <a:gd name="T21" fmla="*/ 501987399 h 21600"/>
                <a:gd name="T22" fmla="*/ 482412349 w 21600"/>
                <a:gd name="T23" fmla="*/ 486939891 h 21600"/>
                <a:gd name="T24" fmla="*/ 634053297 w 21600"/>
                <a:gd name="T25" fmla="*/ 382090109 h 21600"/>
                <a:gd name="T26" fmla="*/ 740182264 w 21600"/>
                <a:gd name="T27" fmla="*/ 271555508 h 21600"/>
                <a:gd name="T28" fmla="*/ 883464545 w 21600"/>
                <a:gd name="T29" fmla="*/ 211433017 h 21600"/>
                <a:gd name="T30" fmla="*/ 1032387086 w 21600"/>
                <a:gd name="T31" fmla="*/ 199644816 h 21600"/>
                <a:gd name="T32" fmla="*/ 1033696511 w 21600"/>
                <a:gd name="T33" fmla="*/ 68720569 h 21600"/>
                <a:gd name="T34" fmla="*/ 1174362036 w 21600"/>
                <a:gd name="T35" fmla="*/ 0 h 21600"/>
                <a:gd name="T36" fmla="*/ 1447234813 w 21600"/>
                <a:gd name="T37" fmla="*/ 15047508 h 21600"/>
                <a:gd name="T38" fmla="*/ 1575414232 w 21600"/>
                <a:gd name="T39" fmla="*/ 77249461 h 21600"/>
                <a:gd name="T40" fmla="*/ 1773878775 w 21600"/>
                <a:gd name="T41" fmla="*/ 111645222 h 21600"/>
                <a:gd name="T42" fmla="*/ 1926827008 w 21600"/>
                <a:gd name="T43" fmla="*/ 164209346 h 21600"/>
                <a:gd name="T44" fmla="*/ 2147483647 w 21600"/>
                <a:gd name="T45" fmla="*/ 244718156 h 21600"/>
                <a:gd name="T46" fmla="*/ 2147483647 w 21600"/>
                <a:gd name="T47" fmla="*/ 464956888 h 21600"/>
                <a:gd name="T48" fmla="*/ 2134957550 w 21600"/>
                <a:gd name="T49" fmla="*/ 633465293 h 21600"/>
                <a:gd name="T50" fmla="*/ 2110186549 w 21600"/>
                <a:gd name="T51" fmla="*/ 808423088 h 21600"/>
                <a:gd name="T52" fmla="*/ 2147483647 w 21600"/>
                <a:gd name="T53" fmla="*/ 942674144 h 21600"/>
                <a:gd name="T54" fmla="*/ 2009494445 w 21600"/>
                <a:gd name="T55" fmla="*/ 1109033903 h 21600"/>
                <a:gd name="T56" fmla="*/ 1976568127 w 21600"/>
                <a:gd name="T57" fmla="*/ 1278372737 h 21600"/>
                <a:gd name="T58" fmla="*/ 1820799740 w 21600"/>
                <a:gd name="T59" fmla="*/ 1402292263 h 21600"/>
                <a:gd name="T60" fmla="*/ 1635024793 w 21600"/>
                <a:gd name="T61" fmla="*/ 1497850225 h 21600"/>
                <a:gd name="T62" fmla="*/ 1406255015 w 21600"/>
                <a:gd name="T63" fmla="*/ 1477185440 h 21600"/>
                <a:gd name="T64" fmla="*/ 1212826915 w 21600"/>
                <a:gd name="T65" fmla="*/ 1451389482 h 21600"/>
                <a:gd name="T66" fmla="*/ 1034099071 w 21600"/>
                <a:gd name="T67" fmla="*/ 1463594561 h 21600"/>
                <a:gd name="T68" fmla="*/ 1034099071 w 21600"/>
                <a:gd name="T69" fmla="*/ 1463594561 h 216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1600" h="21600">
                  <a:moveTo>
                    <a:pt x="10270" y="21106"/>
                  </a:moveTo>
                  <a:lnTo>
                    <a:pt x="10119" y="19342"/>
                  </a:lnTo>
                  <a:lnTo>
                    <a:pt x="7053" y="18723"/>
                  </a:lnTo>
                  <a:lnTo>
                    <a:pt x="6642" y="17144"/>
                  </a:lnTo>
                  <a:lnTo>
                    <a:pt x="6697" y="15395"/>
                  </a:lnTo>
                  <a:lnTo>
                    <a:pt x="5465" y="14141"/>
                  </a:lnTo>
                  <a:lnTo>
                    <a:pt x="3261" y="12996"/>
                  </a:lnTo>
                  <a:lnTo>
                    <a:pt x="2040" y="11031"/>
                  </a:lnTo>
                  <a:lnTo>
                    <a:pt x="1068" y="9313"/>
                  </a:lnTo>
                  <a:lnTo>
                    <a:pt x="0" y="7255"/>
                  </a:lnTo>
                  <a:lnTo>
                    <a:pt x="1999" y="7239"/>
                  </a:lnTo>
                  <a:lnTo>
                    <a:pt x="4791" y="7022"/>
                  </a:lnTo>
                  <a:lnTo>
                    <a:pt x="6297" y="5510"/>
                  </a:lnTo>
                  <a:lnTo>
                    <a:pt x="7351" y="3916"/>
                  </a:lnTo>
                  <a:lnTo>
                    <a:pt x="8774" y="3049"/>
                  </a:lnTo>
                  <a:lnTo>
                    <a:pt x="10253" y="2879"/>
                  </a:lnTo>
                  <a:lnTo>
                    <a:pt x="10266" y="991"/>
                  </a:lnTo>
                  <a:lnTo>
                    <a:pt x="11663" y="0"/>
                  </a:lnTo>
                  <a:lnTo>
                    <a:pt x="14373" y="217"/>
                  </a:lnTo>
                  <a:lnTo>
                    <a:pt x="15646" y="1114"/>
                  </a:lnTo>
                  <a:lnTo>
                    <a:pt x="17617" y="1610"/>
                  </a:lnTo>
                  <a:lnTo>
                    <a:pt x="19136" y="2368"/>
                  </a:lnTo>
                  <a:lnTo>
                    <a:pt x="21600" y="3529"/>
                  </a:lnTo>
                  <a:lnTo>
                    <a:pt x="21463" y="6705"/>
                  </a:lnTo>
                  <a:lnTo>
                    <a:pt x="21203" y="9135"/>
                  </a:lnTo>
                  <a:lnTo>
                    <a:pt x="20957" y="11658"/>
                  </a:lnTo>
                  <a:lnTo>
                    <a:pt x="21436" y="13594"/>
                  </a:lnTo>
                  <a:lnTo>
                    <a:pt x="19957" y="15993"/>
                  </a:lnTo>
                  <a:lnTo>
                    <a:pt x="19630" y="18435"/>
                  </a:lnTo>
                  <a:lnTo>
                    <a:pt x="18083" y="20222"/>
                  </a:lnTo>
                  <a:lnTo>
                    <a:pt x="16238" y="21600"/>
                  </a:lnTo>
                  <a:lnTo>
                    <a:pt x="13966" y="21302"/>
                  </a:lnTo>
                  <a:lnTo>
                    <a:pt x="12045" y="20930"/>
                  </a:lnTo>
                  <a:lnTo>
                    <a:pt x="10270" y="21106"/>
                  </a:lnTo>
                  <a:close/>
                  <a:moveTo>
                    <a:pt x="10270" y="21106"/>
                  </a:moveTo>
                </a:path>
              </a:pathLst>
            </a:custGeom>
            <a:solidFill>
              <a:srgbClr val="FFFF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C087FD0E-250F-19FC-CBB6-EA4027913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17" y="947143"/>
              <a:ext cx="1428137" cy="1251996"/>
            </a:xfrm>
            <a:custGeom>
              <a:avLst/>
              <a:gdLst>
                <a:gd name="T0" fmla="*/ 2147483647 w 21600"/>
                <a:gd name="T1" fmla="*/ 2147483647 h 21600"/>
                <a:gd name="T2" fmla="*/ 435888916 w 21600"/>
                <a:gd name="T3" fmla="*/ 2147483647 h 21600"/>
                <a:gd name="T4" fmla="*/ 1628115669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2147483647 w 21600"/>
                <a:gd name="T17" fmla="*/ 2147483647 h 21600"/>
                <a:gd name="T18" fmla="*/ 2147483647 w 21600"/>
                <a:gd name="T19" fmla="*/ 2147483647 h 21600"/>
                <a:gd name="T20" fmla="*/ 2147483647 w 21600"/>
                <a:gd name="T21" fmla="*/ 1793786556 h 21600"/>
                <a:gd name="T22" fmla="*/ 2147483647 w 21600"/>
                <a:gd name="T23" fmla="*/ 1036924729 h 21600"/>
                <a:gd name="T24" fmla="*/ 2147483647 w 21600"/>
                <a:gd name="T25" fmla="*/ 755549728 h 21600"/>
                <a:gd name="T26" fmla="*/ 2147483647 w 21600"/>
                <a:gd name="T27" fmla="*/ 287887548 h 21600"/>
                <a:gd name="T28" fmla="*/ 2147483647 w 21600"/>
                <a:gd name="T29" fmla="*/ 788124369 h 21600"/>
                <a:gd name="T30" fmla="*/ 2147483647 w 21600"/>
                <a:gd name="T31" fmla="*/ 287887548 h 21600"/>
                <a:gd name="T32" fmla="*/ 2147483647 w 21600"/>
                <a:gd name="T33" fmla="*/ 724287186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147483647 w 21600"/>
                <a:gd name="T47" fmla="*/ 2147483647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1600" h="21600">
                  <a:moveTo>
                    <a:pt x="9577" y="18964"/>
                  </a:moveTo>
                  <a:lnTo>
                    <a:pt x="3746" y="14143"/>
                  </a:lnTo>
                  <a:lnTo>
                    <a:pt x="0" y="10934"/>
                  </a:lnTo>
                  <a:lnTo>
                    <a:pt x="287" y="10311"/>
                  </a:lnTo>
                  <a:lnTo>
                    <a:pt x="443" y="9338"/>
                  </a:lnTo>
                  <a:lnTo>
                    <a:pt x="1072" y="8864"/>
                  </a:lnTo>
                  <a:lnTo>
                    <a:pt x="1842" y="8341"/>
                  </a:lnTo>
                  <a:lnTo>
                    <a:pt x="2907" y="8089"/>
                  </a:lnTo>
                  <a:lnTo>
                    <a:pt x="3933" y="7934"/>
                  </a:lnTo>
                  <a:lnTo>
                    <a:pt x="4578" y="7304"/>
                  </a:lnTo>
                  <a:lnTo>
                    <a:pt x="5300" y="7059"/>
                  </a:lnTo>
                  <a:lnTo>
                    <a:pt x="6000" y="6830"/>
                  </a:lnTo>
                  <a:lnTo>
                    <a:pt x="6000" y="5980"/>
                  </a:lnTo>
                  <a:lnTo>
                    <a:pt x="6987" y="5686"/>
                  </a:lnTo>
                  <a:lnTo>
                    <a:pt x="8604" y="5583"/>
                  </a:lnTo>
                  <a:lnTo>
                    <a:pt x="8930" y="4938"/>
                  </a:lnTo>
                  <a:lnTo>
                    <a:pt x="8573" y="4455"/>
                  </a:lnTo>
                  <a:lnTo>
                    <a:pt x="8650" y="3605"/>
                  </a:lnTo>
                  <a:lnTo>
                    <a:pt x="8720" y="2701"/>
                  </a:lnTo>
                  <a:lnTo>
                    <a:pt x="8184" y="1973"/>
                  </a:lnTo>
                  <a:lnTo>
                    <a:pt x="8922" y="1704"/>
                  </a:lnTo>
                  <a:lnTo>
                    <a:pt x="9529" y="1377"/>
                  </a:lnTo>
                  <a:lnTo>
                    <a:pt x="10345" y="1148"/>
                  </a:lnTo>
                  <a:lnTo>
                    <a:pt x="11013" y="796"/>
                  </a:lnTo>
                  <a:lnTo>
                    <a:pt x="11720" y="559"/>
                  </a:lnTo>
                  <a:lnTo>
                    <a:pt x="12887" y="580"/>
                  </a:lnTo>
                  <a:lnTo>
                    <a:pt x="13859" y="409"/>
                  </a:lnTo>
                  <a:lnTo>
                    <a:pt x="14667" y="221"/>
                  </a:lnTo>
                  <a:lnTo>
                    <a:pt x="15615" y="368"/>
                  </a:lnTo>
                  <a:lnTo>
                    <a:pt x="16665" y="605"/>
                  </a:lnTo>
                  <a:lnTo>
                    <a:pt x="17255" y="0"/>
                  </a:lnTo>
                  <a:lnTo>
                    <a:pt x="18087" y="221"/>
                  </a:lnTo>
                  <a:lnTo>
                    <a:pt x="18678" y="466"/>
                  </a:lnTo>
                  <a:lnTo>
                    <a:pt x="19338" y="556"/>
                  </a:lnTo>
                  <a:lnTo>
                    <a:pt x="18856" y="1112"/>
                  </a:lnTo>
                  <a:lnTo>
                    <a:pt x="18740" y="2256"/>
                  </a:lnTo>
                  <a:lnTo>
                    <a:pt x="18569" y="3016"/>
                  </a:lnTo>
                  <a:lnTo>
                    <a:pt x="17854" y="3654"/>
                  </a:lnTo>
                  <a:lnTo>
                    <a:pt x="17877" y="4431"/>
                  </a:lnTo>
                  <a:lnTo>
                    <a:pt x="18479" y="4912"/>
                  </a:lnTo>
                  <a:lnTo>
                    <a:pt x="18792" y="5538"/>
                  </a:lnTo>
                  <a:lnTo>
                    <a:pt x="19398" y="6241"/>
                  </a:lnTo>
                  <a:lnTo>
                    <a:pt x="19447" y="6952"/>
                  </a:lnTo>
                  <a:lnTo>
                    <a:pt x="19447" y="8176"/>
                  </a:lnTo>
                  <a:lnTo>
                    <a:pt x="19564" y="9081"/>
                  </a:lnTo>
                  <a:lnTo>
                    <a:pt x="19801" y="10557"/>
                  </a:lnTo>
                  <a:lnTo>
                    <a:pt x="19540" y="11603"/>
                  </a:lnTo>
                  <a:lnTo>
                    <a:pt x="19478" y="12633"/>
                  </a:lnTo>
                  <a:lnTo>
                    <a:pt x="19020" y="13222"/>
                  </a:lnTo>
                  <a:lnTo>
                    <a:pt x="19486" y="13900"/>
                  </a:lnTo>
                  <a:lnTo>
                    <a:pt x="19626" y="14954"/>
                  </a:lnTo>
                  <a:lnTo>
                    <a:pt x="20372" y="15110"/>
                  </a:lnTo>
                  <a:lnTo>
                    <a:pt x="20978" y="15355"/>
                  </a:lnTo>
                  <a:lnTo>
                    <a:pt x="21600" y="16303"/>
                  </a:lnTo>
                  <a:lnTo>
                    <a:pt x="20450" y="17080"/>
                  </a:lnTo>
                  <a:lnTo>
                    <a:pt x="18569" y="18248"/>
                  </a:lnTo>
                  <a:lnTo>
                    <a:pt x="17504" y="18910"/>
                  </a:lnTo>
                  <a:lnTo>
                    <a:pt x="16595" y="19532"/>
                  </a:lnTo>
                  <a:lnTo>
                    <a:pt x="15615" y="20333"/>
                  </a:lnTo>
                  <a:lnTo>
                    <a:pt x="14807" y="21044"/>
                  </a:lnTo>
                  <a:lnTo>
                    <a:pt x="13750" y="21354"/>
                  </a:lnTo>
                  <a:lnTo>
                    <a:pt x="12759" y="21495"/>
                  </a:lnTo>
                  <a:lnTo>
                    <a:pt x="11659" y="21600"/>
                  </a:lnTo>
                  <a:lnTo>
                    <a:pt x="11659" y="20627"/>
                  </a:lnTo>
                  <a:lnTo>
                    <a:pt x="10851" y="20210"/>
                  </a:lnTo>
                  <a:lnTo>
                    <a:pt x="10128" y="19973"/>
                  </a:lnTo>
                  <a:lnTo>
                    <a:pt x="9577" y="18964"/>
                  </a:lnTo>
                  <a:close/>
                  <a:moveTo>
                    <a:pt x="9577" y="18964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94010F4B-FD49-7AF1-099C-1948DFB87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9436" y="3215227"/>
              <a:ext cx="670238" cy="668124"/>
            </a:xfrm>
            <a:custGeom>
              <a:avLst/>
              <a:gdLst>
                <a:gd name="T0" fmla="*/ 1791710487 w 21600"/>
                <a:gd name="T1" fmla="*/ 2147483647 h 21600"/>
                <a:gd name="T2" fmla="*/ 1119328352 w 21600"/>
                <a:gd name="T3" fmla="*/ 2147483647 h 21600"/>
                <a:gd name="T4" fmla="*/ 550872688 w 21600"/>
                <a:gd name="T5" fmla="*/ 2147483647 h 21600"/>
                <a:gd name="T6" fmla="*/ 0 w 21600"/>
                <a:gd name="T7" fmla="*/ 2147483647 h 21600"/>
                <a:gd name="T8" fmla="*/ 393885808 w 21600"/>
                <a:gd name="T9" fmla="*/ 2055918142 h 21600"/>
                <a:gd name="T10" fmla="*/ 573949969 w 21600"/>
                <a:gd name="T11" fmla="*/ 1736988678 h 21600"/>
                <a:gd name="T12" fmla="*/ 778348668 w 21600"/>
                <a:gd name="T13" fmla="*/ 1422413915 h 21600"/>
                <a:gd name="T14" fmla="*/ 753859900 w 21600"/>
                <a:gd name="T15" fmla="*/ 1067849033 h 21600"/>
                <a:gd name="T16" fmla="*/ 558721288 w 21600"/>
                <a:gd name="T17" fmla="*/ 800788278 h 21600"/>
                <a:gd name="T18" fmla="*/ 564687024 w 21600"/>
                <a:gd name="T19" fmla="*/ 499875295 h 21600"/>
                <a:gd name="T20" fmla="*/ 349299768 w 21600"/>
                <a:gd name="T21" fmla="*/ 254788238 h 21600"/>
                <a:gd name="T22" fmla="*/ 531878280 w 21600"/>
                <a:gd name="T23" fmla="*/ 25536931 h 21600"/>
                <a:gd name="T24" fmla="*/ 1065953656 w 21600"/>
                <a:gd name="T25" fmla="*/ 0 h 21600"/>
                <a:gd name="T26" fmla="*/ 1531108509 w 21600"/>
                <a:gd name="T27" fmla="*/ 152633813 h 21600"/>
                <a:gd name="T28" fmla="*/ 1868948181 w 21600"/>
                <a:gd name="T29" fmla="*/ 415737349 h 21600"/>
                <a:gd name="T30" fmla="*/ 2147483647 w 21600"/>
                <a:gd name="T31" fmla="*/ 514919577 h 21600"/>
                <a:gd name="T32" fmla="*/ 2147483647 w 21600"/>
                <a:gd name="T33" fmla="*/ 512742286 h 21600"/>
                <a:gd name="T34" fmla="*/ 2147483647 w 21600"/>
                <a:gd name="T35" fmla="*/ 287254526 h 21600"/>
                <a:gd name="T36" fmla="*/ 2147483647 w 21600"/>
                <a:gd name="T37" fmla="*/ 222121519 h 21600"/>
                <a:gd name="T38" fmla="*/ 2147483647 w 21600"/>
                <a:gd name="T39" fmla="*/ 291609226 h 21600"/>
                <a:gd name="T40" fmla="*/ 2147483647 w 21600"/>
                <a:gd name="T41" fmla="*/ 267655171 h 21600"/>
                <a:gd name="T42" fmla="*/ 2147483647 w 21600"/>
                <a:gd name="T43" fmla="*/ 527986941 h 21600"/>
                <a:gd name="T44" fmla="*/ 2147483647 w 21600"/>
                <a:gd name="T45" fmla="*/ 838203682 h 21600"/>
                <a:gd name="T46" fmla="*/ 2147483647 w 21600"/>
                <a:gd name="T47" fmla="*/ 1310955790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1851053832 w 21600"/>
                <a:gd name="T69" fmla="*/ 2147483647 h 21600"/>
                <a:gd name="T70" fmla="*/ 1791710487 w 21600"/>
                <a:gd name="T71" fmla="*/ 2147483647 h 21600"/>
                <a:gd name="T72" fmla="*/ 1791710487 w 21600"/>
                <a:gd name="T73" fmla="*/ 2147483647 h 216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1600" h="21600">
                  <a:moveTo>
                    <a:pt x="11413" y="17953"/>
                  </a:moveTo>
                  <a:lnTo>
                    <a:pt x="7130" y="15630"/>
                  </a:lnTo>
                  <a:lnTo>
                    <a:pt x="3509" y="13680"/>
                  </a:lnTo>
                  <a:lnTo>
                    <a:pt x="0" y="13551"/>
                  </a:lnTo>
                  <a:lnTo>
                    <a:pt x="2509" y="10385"/>
                  </a:lnTo>
                  <a:lnTo>
                    <a:pt x="3656" y="8774"/>
                  </a:lnTo>
                  <a:lnTo>
                    <a:pt x="4958" y="7185"/>
                  </a:lnTo>
                  <a:lnTo>
                    <a:pt x="4802" y="5394"/>
                  </a:lnTo>
                  <a:lnTo>
                    <a:pt x="3559" y="4045"/>
                  </a:lnTo>
                  <a:lnTo>
                    <a:pt x="3597" y="2525"/>
                  </a:lnTo>
                  <a:lnTo>
                    <a:pt x="2225" y="1287"/>
                  </a:lnTo>
                  <a:lnTo>
                    <a:pt x="3388" y="129"/>
                  </a:lnTo>
                  <a:lnTo>
                    <a:pt x="6790" y="0"/>
                  </a:lnTo>
                  <a:lnTo>
                    <a:pt x="9753" y="771"/>
                  </a:lnTo>
                  <a:lnTo>
                    <a:pt x="11905" y="2100"/>
                  </a:lnTo>
                  <a:lnTo>
                    <a:pt x="13947" y="2601"/>
                  </a:lnTo>
                  <a:lnTo>
                    <a:pt x="15734" y="2590"/>
                  </a:lnTo>
                  <a:lnTo>
                    <a:pt x="17237" y="1451"/>
                  </a:lnTo>
                  <a:lnTo>
                    <a:pt x="18775" y="1122"/>
                  </a:lnTo>
                  <a:lnTo>
                    <a:pt x="20216" y="1473"/>
                  </a:lnTo>
                  <a:lnTo>
                    <a:pt x="21600" y="1352"/>
                  </a:lnTo>
                  <a:lnTo>
                    <a:pt x="21245" y="2667"/>
                  </a:lnTo>
                  <a:lnTo>
                    <a:pt x="19742" y="4234"/>
                  </a:lnTo>
                  <a:lnTo>
                    <a:pt x="19636" y="6622"/>
                  </a:lnTo>
                  <a:lnTo>
                    <a:pt x="19671" y="11117"/>
                  </a:lnTo>
                  <a:lnTo>
                    <a:pt x="19730" y="12935"/>
                  </a:lnTo>
                  <a:lnTo>
                    <a:pt x="21127" y="14666"/>
                  </a:lnTo>
                  <a:lnTo>
                    <a:pt x="20180" y="15893"/>
                  </a:lnTo>
                  <a:lnTo>
                    <a:pt x="19127" y="16837"/>
                  </a:lnTo>
                  <a:lnTo>
                    <a:pt x="17837" y="16859"/>
                  </a:lnTo>
                  <a:lnTo>
                    <a:pt x="17435" y="18535"/>
                  </a:lnTo>
                  <a:lnTo>
                    <a:pt x="16678" y="19894"/>
                  </a:lnTo>
                  <a:lnTo>
                    <a:pt x="15352" y="21600"/>
                  </a:lnTo>
                  <a:lnTo>
                    <a:pt x="13755" y="20592"/>
                  </a:lnTo>
                  <a:lnTo>
                    <a:pt x="11791" y="19475"/>
                  </a:lnTo>
                  <a:lnTo>
                    <a:pt x="11413" y="17953"/>
                  </a:lnTo>
                  <a:close/>
                  <a:moveTo>
                    <a:pt x="11413" y="17953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88EF6BBE-E41F-1032-F028-9DD53DDF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3910" y="3381204"/>
              <a:ext cx="439216" cy="445697"/>
            </a:xfrm>
            <a:custGeom>
              <a:avLst/>
              <a:gdLst>
                <a:gd name="T0" fmla="*/ 387360367 w 21600"/>
                <a:gd name="T1" fmla="*/ 1267821606 h 21600"/>
                <a:gd name="T2" fmla="*/ 307220180 w 21600"/>
                <a:gd name="T3" fmla="*/ 1146698517 h 21600"/>
                <a:gd name="T4" fmla="*/ 211882242 w 21600"/>
                <a:gd name="T5" fmla="*/ 1031395002 h 21600"/>
                <a:gd name="T6" fmla="*/ 140577463 w 21600"/>
                <a:gd name="T7" fmla="*/ 940302498 h 21600"/>
                <a:gd name="T8" fmla="*/ 82879592 w 21600"/>
                <a:gd name="T9" fmla="*/ 847272183 h 21600"/>
                <a:gd name="T10" fmla="*/ 25977725 w 21600"/>
                <a:gd name="T11" fmla="*/ 746482888 h 21600"/>
                <a:gd name="T12" fmla="*/ 0 w 21600"/>
                <a:gd name="T13" fmla="*/ 613959443 h 21600"/>
                <a:gd name="T14" fmla="*/ 84116779 w 21600"/>
                <a:gd name="T15" fmla="*/ 560654988 h 21600"/>
                <a:gd name="T16" fmla="*/ 88931938 w 21600"/>
                <a:gd name="T17" fmla="*/ 428837431 h 21600"/>
                <a:gd name="T18" fmla="*/ 155421559 w 21600"/>
                <a:gd name="T19" fmla="*/ 287380547 h 21600"/>
                <a:gd name="T20" fmla="*/ 418197015 w 21600"/>
                <a:gd name="T21" fmla="*/ 284971055 h 21600"/>
                <a:gd name="T22" fmla="*/ 427518610 w 21600"/>
                <a:gd name="T23" fmla="*/ 3760812 h 21600"/>
                <a:gd name="T24" fmla="*/ 557669716 w 21600"/>
                <a:gd name="T25" fmla="*/ 15573830 h 21600"/>
                <a:gd name="T26" fmla="*/ 728508944 w 21600"/>
                <a:gd name="T27" fmla="*/ 0 h 21600"/>
                <a:gd name="T28" fmla="*/ 749361622 w 21600"/>
                <a:gd name="T29" fmla="*/ 194641941 h 21600"/>
                <a:gd name="T30" fmla="*/ 822874617 w 21600"/>
                <a:gd name="T31" fmla="*/ 202635168 h 21600"/>
                <a:gd name="T32" fmla="*/ 925414665 w 21600"/>
                <a:gd name="T33" fmla="*/ 214271325 h 21600"/>
                <a:gd name="T34" fmla="*/ 953468179 w 21600"/>
                <a:gd name="T35" fmla="*/ 343151879 h 21600"/>
                <a:gd name="T36" fmla="*/ 856495600 w 21600"/>
                <a:gd name="T37" fmla="*/ 404212242 h 21600"/>
                <a:gd name="T38" fmla="*/ 870942242 w 21600"/>
                <a:gd name="T39" fmla="*/ 548548705 h 21600"/>
                <a:gd name="T40" fmla="*/ 954262981 w 21600"/>
                <a:gd name="T41" fmla="*/ 636761631 h 21600"/>
                <a:gd name="T42" fmla="*/ 947856946 w 21600"/>
                <a:gd name="T43" fmla="*/ 855381813 h 21600"/>
                <a:gd name="T44" fmla="*/ 887773361 w 21600"/>
                <a:gd name="T45" fmla="*/ 984262328 h 21600"/>
                <a:gd name="T46" fmla="*/ 819650371 w 21600"/>
                <a:gd name="T47" fmla="*/ 921261121 h 21600"/>
                <a:gd name="T48" fmla="*/ 719496037 w 21600"/>
                <a:gd name="T49" fmla="*/ 955171955 h 21600"/>
                <a:gd name="T50" fmla="*/ 654244877 w 21600"/>
                <a:gd name="T51" fmla="*/ 863668305 h 21600"/>
                <a:gd name="T52" fmla="*/ 599108911 w 21600"/>
                <a:gd name="T53" fmla="*/ 959284973 h 21600"/>
                <a:gd name="T54" fmla="*/ 468737814 w 21600"/>
                <a:gd name="T55" fmla="*/ 953232589 h 21600"/>
                <a:gd name="T56" fmla="*/ 496746326 w 21600"/>
                <a:gd name="T57" fmla="*/ 1065656525 h 21600"/>
                <a:gd name="T58" fmla="*/ 544017876 w 21600"/>
                <a:gd name="T59" fmla="*/ 1269408767 h 21600"/>
                <a:gd name="T60" fmla="*/ 387360367 w 21600"/>
                <a:gd name="T61" fmla="*/ 1267821606 h 21600"/>
                <a:gd name="T62" fmla="*/ 387360367 w 21600"/>
                <a:gd name="T63" fmla="*/ 1267821606 h 216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1600" h="21600">
                  <a:moveTo>
                    <a:pt x="8768" y="21573"/>
                  </a:moveTo>
                  <a:lnTo>
                    <a:pt x="6954" y="19512"/>
                  </a:lnTo>
                  <a:lnTo>
                    <a:pt x="4796" y="17550"/>
                  </a:lnTo>
                  <a:lnTo>
                    <a:pt x="3182" y="16000"/>
                  </a:lnTo>
                  <a:lnTo>
                    <a:pt x="1876" y="14417"/>
                  </a:lnTo>
                  <a:lnTo>
                    <a:pt x="588" y="12702"/>
                  </a:lnTo>
                  <a:lnTo>
                    <a:pt x="0" y="10447"/>
                  </a:lnTo>
                  <a:lnTo>
                    <a:pt x="1904" y="9540"/>
                  </a:lnTo>
                  <a:lnTo>
                    <a:pt x="2013" y="7297"/>
                  </a:lnTo>
                  <a:lnTo>
                    <a:pt x="3518" y="4890"/>
                  </a:lnTo>
                  <a:lnTo>
                    <a:pt x="9466" y="4849"/>
                  </a:lnTo>
                  <a:lnTo>
                    <a:pt x="9677" y="64"/>
                  </a:lnTo>
                  <a:lnTo>
                    <a:pt x="12623" y="265"/>
                  </a:lnTo>
                  <a:lnTo>
                    <a:pt x="16490" y="0"/>
                  </a:lnTo>
                  <a:lnTo>
                    <a:pt x="16962" y="3312"/>
                  </a:lnTo>
                  <a:lnTo>
                    <a:pt x="18626" y="3448"/>
                  </a:lnTo>
                  <a:lnTo>
                    <a:pt x="20947" y="3646"/>
                  </a:lnTo>
                  <a:lnTo>
                    <a:pt x="21582" y="5839"/>
                  </a:lnTo>
                  <a:lnTo>
                    <a:pt x="19387" y="6878"/>
                  </a:lnTo>
                  <a:lnTo>
                    <a:pt x="19714" y="9334"/>
                  </a:lnTo>
                  <a:lnTo>
                    <a:pt x="21600" y="10835"/>
                  </a:lnTo>
                  <a:lnTo>
                    <a:pt x="21455" y="14555"/>
                  </a:lnTo>
                  <a:lnTo>
                    <a:pt x="20095" y="16748"/>
                  </a:lnTo>
                  <a:lnTo>
                    <a:pt x="18553" y="15676"/>
                  </a:lnTo>
                  <a:lnTo>
                    <a:pt x="16286" y="16253"/>
                  </a:lnTo>
                  <a:lnTo>
                    <a:pt x="14809" y="14696"/>
                  </a:lnTo>
                  <a:lnTo>
                    <a:pt x="13561" y="16323"/>
                  </a:lnTo>
                  <a:lnTo>
                    <a:pt x="10610" y="16220"/>
                  </a:lnTo>
                  <a:lnTo>
                    <a:pt x="11244" y="18133"/>
                  </a:lnTo>
                  <a:lnTo>
                    <a:pt x="12314" y="21600"/>
                  </a:lnTo>
                  <a:lnTo>
                    <a:pt x="8768" y="21573"/>
                  </a:lnTo>
                  <a:close/>
                  <a:moveTo>
                    <a:pt x="8768" y="21573"/>
                  </a:moveTo>
                </a:path>
              </a:pathLst>
            </a:custGeom>
            <a:solidFill>
              <a:srgbClr val="FFFF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0A19257C-8015-53A9-7DED-07EE13640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132" y="5107706"/>
              <a:ext cx="1145067" cy="860220"/>
            </a:xfrm>
            <a:custGeom>
              <a:avLst/>
              <a:gdLst>
                <a:gd name="T0" fmla="*/ 244246566 w 21600"/>
                <a:gd name="T1" fmla="*/ 2147483647 h 21600"/>
                <a:gd name="T2" fmla="*/ 969154605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32085234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2147483647 w 21600"/>
                <a:gd name="T17" fmla="*/ 2147483647 h 21600"/>
                <a:gd name="T18" fmla="*/ 2147483647 w 21600"/>
                <a:gd name="T19" fmla="*/ 2147483647 h 21600"/>
                <a:gd name="T20" fmla="*/ 2147483647 w 21600"/>
                <a:gd name="T21" fmla="*/ 1651241801 h 21600"/>
                <a:gd name="T22" fmla="*/ 2147483647 w 21600"/>
                <a:gd name="T23" fmla="*/ 693372833 h 21600"/>
                <a:gd name="T24" fmla="*/ 2147483647 w 21600"/>
                <a:gd name="T25" fmla="*/ 184223358 h 21600"/>
                <a:gd name="T26" fmla="*/ 2147483647 w 21600"/>
                <a:gd name="T27" fmla="*/ 0 h 21600"/>
                <a:gd name="T28" fmla="*/ 2147483647 w 21600"/>
                <a:gd name="T29" fmla="*/ 614777921 h 21600"/>
                <a:gd name="T30" fmla="*/ 2147483647 w 21600"/>
                <a:gd name="T31" fmla="*/ 1529976630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2147483647 h 21600"/>
                <a:gd name="T38" fmla="*/ 2147483647 w 21600"/>
                <a:gd name="T39" fmla="*/ 2147483647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147483647 w 21600"/>
                <a:gd name="T47" fmla="*/ 2147483647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036160718 w 21600"/>
                <a:gd name="T57" fmla="*/ 2147483647 h 21600"/>
                <a:gd name="T58" fmla="*/ 1359006208 w 21600"/>
                <a:gd name="T59" fmla="*/ 2147483647 h 21600"/>
                <a:gd name="T60" fmla="*/ 1379366440 w 21600"/>
                <a:gd name="T61" fmla="*/ 2147483647 h 21600"/>
                <a:gd name="T62" fmla="*/ 464225550 w 21600"/>
                <a:gd name="T63" fmla="*/ 2147483647 h 21600"/>
                <a:gd name="T64" fmla="*/ 0 w 21600"/>
                <a:gd name="T65" fmla="*/ 2147483647 h 216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600" h="21600">
                  <a:moveTo>
                    <a:pt x="0" y="11119"/>
                  </a:moveTo>
                  <a:lnTo>
                    <a:pt x="312" y="10102"/>
                  </a:lnTo>
                  <a:lnTo>
                    <a:pt x="1054" y="10076"/>
                  </a:lnTo>
                  <a:lnTo>
                    <a:pt x="1238" y="10952"/>
                  </a:lnTo>
                  <a:lnTo>
                    <a:pt x="1925" y="11436"/>
                  </a:lnTo>
                  <a:lnTo>
                    <a:pt x="3395" y="11278"/>
                  </a:lnTo>
                  <a:lnTo>
                    <a:pt x="4491" y="10300"/>
                  </a:lnTo>
                  <a:lnTo>
                    <a:pt x="4507" y="7589"/>
                  </a:lnTo>
                  <a:lnTo>
                    <a:pt x="4592" y="4115"/>
                  </a:lnTo>
                  <a:lnTo>
                    <a:pt x="5295" y="5046"/>
                  </a:lnTo>
                  <a:lnTo>
                    <a:pt x="5708" y="5874"/>
                  </a:lnTo>
                  <a:lnTo>
                    <a:pt x="5685" y="7021"/>
                  </a:lnTo>
                  <a:lnTo>
                    <a:pt x="5895" y="7911"/>
                  </a:lnTo>
                  <a:lnTo>
                    <a:pt x="7133" y="7968"/>
                  </a:lnTo>
                  <a:lnTo>
                    <a:pt x="7601" y="6978"/>
                  </a:lnTo>
                  <a:lnTo>
                    <a:pt x="8185" y="6275"/>
                  </a:lnTo>
                  <a:lnTo>
                    <a:pt x="8687" y="5113"/>
                  </a:lnTo>
                  <a:lnTo>
                    <a:pt x="9459" y="5400"/>
                  </a:lnTo>
                  <a:lnTo>
                    <a:pt x="10615" y="6003"/>
                  </a:lnTo>
                  <a:lnTo>
                    <a:pt x="12152" y="5888"/>
                  </a:lnTo>
                  <a:lnTo>
                    <a:pt x="12514" y="4568"/>
                  </a:lnTo>
                  <a:lnTo>
                    <a:pt x="13519" y="3908"/>
                  </a:lnTo>
                  <a:lnTo>
                    <a:pt x="14127" y="2158"/>
                  </a:lnTo>
                  <a:lnTo>
                    <a:pt x="15097" y="1641"/>
                  </a:lnTo>
                  <a:lnTo>
                    <a:pt x="15611" y="709"/>
                  </a:lnTo>
                  <a:lnTo>
                    <a:pt x="16475" y="436"/>
                  </a:lnTo>
                  <a:lnTo>
                    <a:pt x="17165" y="63"/>
                  </a:lnTo>
                  <a:lnTo>
                    <a:pt x="18651" y="0"/>
                  </a:lnTo>
                  <a:lnTo>
                    <a:pt x="20460" y="224"/>
                  </a:lnTo>
                  <a:lnTo>
                    <a:pt x="20245" y="1455"/>
                  </a:lnTo>
                  <a:lnTo>
                    <a:pt x="20390" y="2800"/>
                  </a:lnTo>
                  <a:lnTo>
                    <a:pt x="20829" y="3621"/>
                  </a:lnTo>
                  <a:lnTo>
                    <a:pt x="20905" y="5205"/>
                  </a:lnTo>
                  <a:lnTo>
                    <a:pt x="20988" y="6815"/>
                  </a:lnTo>
                  <a:lnTo>
                    <a:pt x="20864" y="8356"/>
                  </a:lnTo>
                  <a:lnTo>
                    <a:pt x="21600" y="8585"/>
                  </a:lnTo>
                  <a:lnTo>
                    <a:pt x="21226" y="9590"/>
                  </a:lnTo>
                  <a:lnTo>
                    <a:pt x="20981" y="11196"/>
                  </a:lnTo>
                  <a:lnTo>
                    <a:pt x="19625" y="12398"/>
                  </a:lnTo>
                  <a:lnTo>
                    <a:pt x="18773" y="13933"/>
                  </a:lnTo>
                  <a:lnTo>
                    <a:pt x="18048" y="15095"/>
                  </a:lnTo>
                  <a:lnTo>
                    <a:pt x="17148" y="16243"/>
                  </a:lnTo>
                  <a:lnTo>
                    <a:pt x="16249" y="17219"/>
                  </a:lnTo>
                  <a:lnTo>
                    <a:pt x="15022" y="18329"/>
                  </a:lnTo>
                  <a:lnTo>
                    <a:pt x="14052" y="19089"/>
                  </a:lnTo>
                  <a:lnTo>
                    <a:pt x="12954" y="19878"/>
                  </a:lnTo>
                  <a:lnTo>
                    <a:pt x="11926" y="20036"/>
                  </a:lnTo>
                  <a:lnTo>
                    <a:pt x="10839" y="20323"/>
                  </a:lnTo>
                  <a:lnTo>
                    <a:pt x="9542" y="20294"/>
                  </a:lnTo>
                  <a:lnTo>
                    <a:pt x="8010" y="20323"/>
                  </a:lnTo>
                  <a:lnTo>
                    <a:pt x="7274" y="20495"/>
                  </a:lnTo>
                  <a:lnTo>
                    <a:pt x="6363" y="20926"/>
                  </a:lnTo>
                  <a:lnTo>
                    <a:pt x="5323" y="21098"/>
                  </a:lnTo>
                  <a:lnTo>
                    <a:pt x="4458" y="21600"/>
                  </a:lnTo>
                  <a:lnTo>
                    <a:pt x="3757" y="21198"/>
                  </a:lnTo>
                  <a:lnTo>
                    <a:pt x="3197" y="20352"/>
                  </a:lnTo>
                  <a:lnTo>
                    <a:pt x="2566" y="21155"/>
                  </a:lnTo>
                  <a:lnTo>
                    <a:pt x="2601" y="19964"/>
                  </a:lnTo>
                  <a:lnTo>
                    <a:pt x="2122" y="18845"/>
                  </a:lnTo>
                  <a:lnTo>
                    <a:pt x="1736" y="18013"/>
                  </a:lnTo>
                  <a:lnTo>
                    <a:pt x="2390" y="17439"/>
                  </a:lnTo>
                  <a:lnTo>
                    <a:pt x="1762" y="15775"/>
                  </a:lnTo>
                  <a:lnTo>
                    <a:pt x="1072" y="14197"/>
                  </a:lnTo>
                  <a:lnTo>
                    <a:pt x="593" y="12590"/>
                  </a:lnTo>
                  <a:lnTo>
                    <a:pt x="0" y="11119"/>
                  </a:lnTo>
                  <a:close/>
                  <a:moveTo>
                    <a:pt x="0" y="11119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D9636A4F-AEFB-89CD-3240-D0833DC1A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74" y="1589991"/>
              <a:ext cx="911305" cy="882969"/>
            </a:xfrm>
            <a:custGeom>
              <a:avLst/>
              <a:gdLst>
                <a:gd name="T0" fmla="*/ 0 w 21600"/>
                <a:gd name="T1" fmla="*/ 2147483647 h 21600"/>
                <a:gd name="T2" fmla="*/ 256894265 w 21600"/>
                <a:gd name="T3" fmla="*/ 2147483647 h 21600"/>
                <a:gd name="T4" fmla="*/ 523257292 w 21600"/>
                <a:gd name="T5" fmla="*/ 2147483647 h 21600"/>
                <a:gd name="T6" fmla="*/ 475509990 w 21600"/>
                <a:gd name="T7" fmla="*/ 2147483647 h 21600"/>
                <a:gd name="T8" fmla="*/ 428155323 w 21600"/>
                <a:gd name="T9" fmla="*/ 2147483647 h 21600"/>
                <a:gd name="T10" fmla="*/ 523257292 w 21600"/>
                <a:gd name="T11" fmla="*/ 2147483647 h 21600"/>
                <a:gd name="T12" fmla="*/ 199672773 w 21600"/>
                <a:gd name="T13" fmla="*/ 2147483647 h 21600"/>
                <a:gd name="T14" fmla="*/ 370933831 w 21600"/>
                <a:gd name="T15" fmla="*/ 2147483647 h 21600"/>
                <a:gd name="T16" fmla="*/ 827506224 w 21600"/>
                <a:gd name="T17" fmla="*/ 2147483647 h 21600"/>
                <a:gd name="T18" fmla="*/ 1417448488 w 21600"/>
                <a:gd name="T19" fmla="*/ 2147483647 h 21600"/>
                <a:gd name="T20" fmla="*/ 1940705779 w 21600"/>
                <a:gd name="T21" fmla="*/ 2147483647 h 21600"/>
                <a:gd name="T22" fmla="*/ 2147483647 w 21600"/>
                <a:gd name="T23" fmla="*/ 2147483647 h 21600"/>
                <a:gd name="T24" fmla="*/ 2147483647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1816812545 h 21600"/>
                <a:gd name="T32" fmla="*/ 2147483647 w 21600"/>
                <a:gd name="T33" fmla="*/ 808792581 h 21600"/>
                <a:gd name="T34" fmla="*/ 2147483647 w 21600"/>
                <a:gd name="T35" fmla="*/ 839867339 h 21600"/>
                <a:gd name="T36" fmla="*/ 2147483647 w 21600"/>
                <a:gd name="T37" fmla="*/ 850373913 h 21600"/>
                <a:gd name="T38" fmla="*/ 2147483647 w 21600"/>
                <a:gd name="T39" fmla="*/ 839867339 h 21600"/>
                <a:gd name="T40" fmla="*/ 2147483647 w 21600"/>
                <a:gd name="T41" fmla="*/ 0 h 21600"/>
                <a:gd name="T42" fmla="*/ 2147483647 w 21600"/>
                <a:gd name="T43" fmla="*/ 542853448 h 21600"/>
                <a:gd name="T44" fmla="*/ 2147483647 w 21600"/>
                <a:gd name="T45" fmla="*/ 923030080 h 21600"/>
                <a:gd name="T46" fmla="*/ 2147483647 w 21600"/>
                <a:gd name="T47" fmla="*/ 1836004402 h 21600"/>
                <a:gd name="T48" fmla="*/ 2147483647 w 21600"/>
                <a:gd name="T49" fmla="*/ 1840115667 h 21600"/>
                <a:gd name="T50" fmla="*/ 2147483647 w 21600"/>
                <a:gd name="T51" fmla="*/ 2147483647 h 21600"/>
                <a:gd name="T52" fmla="*/ 2147483647 w 21600"/>
                <a:gd name="T53" fmla="*/ 2147483647 h 21600"/>
                <a:gd name="T54" fmla="*/ 2147483647 w 21600"/>
                <a:gd name="T55" fmla="*/ 2147483647 h 21600"/>
                <a:gd name="T56" fmla="*/ 2147483647 w 21600"/>
                <a:gd name="T57" fmla="*/ 2147483647 h 21600"/>
                <a:gd name="T58" fmla="*/ 2147483647 w 21600"/>
                <a:gd name="T59" fmla="*/ 2147483647 h 21600"/>
                <a:gd name="T60" fmla="*/ 2147483647 w 21600"/>
                <a:gd name="T61" fmla="*/ 2147483647 h 21600"/>
                <a:gd name="T62" fmla="*/ 2147483647 w 21600"/>
                <a:gd name="T63" fmla="*/ 2147483647 h 21600"/>
                <a:gd name="T64" fmla="*/ 2147483647 w 21600"/>
                <a:gd name="T65" fmla="*/ 2147483647 h 21600"/>
                <a:gd name="T66" fmla="*/ 2147483647 w 21600"/>
                <a:gd name="T67" fmla="*/ 2147483647 h 21600"/>
                <a:gd name="T68" fmla="*/ 2147483647 w 21600"/>
                <a:gd name="T69" fmla="*/ 2147483647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085136881 w 21600"/>
                <a:gd name="T79" fmla="*/ 2147483647 h 21600"/>
                <a:gd name="T80" fmla="*/ 1723273677 w 21600"/>
                <a:gd name="T81" fmla="*/ 2147483647 h 21600"/>
                <a:gd name="T82" fmla="*/ 1119913793 w 21600"/>
                <a:gd name="T83" fmla="*/ 2147483647 h 21600"/>
                <a:gd name="T84" fmla="*/ 383566036 w 21600"/>
                <a:gd name="T85" fmla="*/ 2147483647 h 21600"/>
                <a:gd name="T86" fmla="*/ 0 w 21600"/>
                <a:gd name="T87" fmla="*/ 2147483647 h 21600"/>
                <a:gd name="T88" fmla="*/ 0 w 21600"/>
                <a:gd name="T89" fmla="*/ 2147483647 h 216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1600" h="21600">
                  <a:moveTo>
                    <a:pt x="0" y="18821"/>
                  </a:moveTo>
                  <a:lnTo>
                    <a:pt x="651" y="17190"/>
                  </a:lnTo>
                  <a:lnTo>
                    <a:pt x="1326" y="15535"/>
                  </a:lnTo>
                  <a:lnTo>
                    <a:pt x="1205" y="13811"/>
                  </a:lnTo>
                  <a:lnTo>
                    <a:pt x="1085" y="12295"/>
                  </a:lnTo>
                  <a:lnTo>
                    <a:pt x="1326" y="11215"/>
                  </a:lnTo>
                  <a:lnTo>
                    <a:pt x="506" y="10112"/>
                  </a:lnTo>
                  <a:lnTo>
                    <a:pt x="940" y="9353"/>
                  </a:lnTo>
                  <a:lnTo>
                    <a:pt x="2097" y="9353"/>
                  </a:lnTo>
                  <a:lnTo>
                    <a:pt x="3592" y="9422"/>
                  </a:lnTo>
                  <a:lnTo>
                    <a:pt x="4918" y="9583"/>
                  </a:lnTo>
                  <a:lnTo>
                    <a:pt x="7232" y="9744"/>
                  </a:lnTo>
                  <a:lnTo>
                    <a:pt x="7401" y="7193"/>
                  </a:lnTo>
                  <a:lnTo>
                    <a:pt x="8268" y="6527"/>
                  </a:lnTo>
                  <a:lnTo>
                    <a:pt x="9715" y="6090"/>
                  </a:lnTo>
                  <a:lnTo>
                    <a:pt x="10052" y="3976"/>
                  </a:lnTo>
                  <a:lnTo>
                    <a:pt x="10486" y="1770"/>
                  </a:lnTo>
                  <a:lnTo>
                    <a:pt x="11981" y="1838"/>
                  </a:lnTo>
                  <a:lnTo>
                    <a:pt x="13355" y="1861"/>
                  </a:lnTo>
                  <a:lnTo>
                    <a:pt x="15741" y="1838"/>
                  </a:lnTo>
                  <a:lnTo>
                    <a:pt x="16344" y="0"/>
                  </a:lnTo>
                  <a:lnTo>
                    <a:pt x="17915" y="1188"/>
                  </a:lnTo>
                  <a:lnTo>
                    <a:pt x="18919" y="2020"/>
                  </a:lnTo>
                  <a:lnTo>
                    <a:pt x="21600" y="4018"/>
                  </a:lnTo>
                  <a:lnTo>
                    <a:pt x="18928" y="4027"/>
                  </a:lnTo>
                  <a:lnTo>
                    <a:pt x="18884" y="5841"/>
                  </a:lnTo>
                  <a:lnTo>
                    <a:pt x="18740" y="10155"/>
                  </a:lnTo>
                  <a:lnTo>
                    <a:pt x="18700" y="13009"/>
                  </a:lnTo>
                  <a:lnTo>
                    <a:pt x="18696" y="16893"/>
                  </a:lnTo>
                  <a:lnTo>
                    <a:pt x="18682" y="18580"/>
                  </a:lnTo>
                  <a:lnTo>
                    <a:pt x="19190" y="19495"/>
                  </a:lnTo>
                  <a:lnTo>
                    <a:pt x="18573" y="20528"/>
                  </a:lnTo>
                  <a:lnTo>
                    <a:pt x="10988" y="20515"/>
                  </a:lnTo>
                  <a:lnTo>
                    <a:pt x="9603" y="20554"/>
                  </a:lnTo>
                  <a:lnTo>
                    <a:pt x="8053" y="19979"/>
                  </a:lnTo>
                  <a:lnTo>
                    <a:pt x="8094" y="21198"/>
                  </a:lnTo>
                  <a:lnTo>
                    <a:pt x="7025" y="21600"/>
                  </a:lnTo>
                  <a:lnTo>
                    <a:pt x="6353" y="20685"/>
                  </a:lnTo>
                  <a:lnTo>
                    <a:pt x="5489" y="20031"/>
                  </a:lnTo>
                  <a:lnTo>
                    <a:pt x="5284" y="19060"/>
                  </a:lnTo>
                  <a:lnTo>
                    <a:pt x="4367" y="18215"/>
                  </a:lnTo>
                  <a:lnTo>
                    <a:pt x="2838" y="18040"/>
                  </a:lnTo>
                  <a:lnTo>
                    <a:pt x="972" y="18069"/>
                  </a:lnTo>
                  <a:lnTo>
                    <a:pt x="0" y="18821"/>
                  </a:lnTo>
                  <a:close/>
                  <a:moveTo>
                    <a:pt x="0" y="18821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D0AA2480-B68B-52D3-B581-F259E1DD2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2806" y="1331335"/>
              <a:ext cx="801729" cy="684975"/>
            </a:xfrm>
            <a:custGeom>
              <a:avLst/>
              <a:gdLst>
                <a:gd name="T0" fmla="*/ 306315113 w 21600"/>
                <a:gd name="T1" fmla="*/ 2147483647 h 21600"/>
                <a:gd name="T2" fmla="*/ 254186187 w 21600"/>
                <a:gd name="T3" fmla="*/ 2147483647 h 21600"/>
                <a:gd name="T4" fmla="*/ 238067439 w 21600"/>
                <a:gd name="T5" fmla="*/ 2147483647 h 21600"/>
                <a:gd name="T6" fmla="*/ 174116942 w 21600"/>
                <a:gd name="T7" fmla="*/ 1496295405 h 21600"/>
                <a:gd name="T8" fmla="*/ 175994927 w 21600"/>
                <a:gd name="T9" fmla="*/ 1104619222 h 21600"/>
                <a:gd name="T10" fmla="*/ 0 w 21600"/>
                <a:gd name="T11" fmla="*/ 837531156 h 21600"/>
                <a:gd name="T12" fmla="*/ 105061495 w 21600"/>
                <a:gd name="T13" fmla="*/ 563191802 h 21600"/>
                <a:gd name="T14" fmla="*/ 88130716 w 21600"/>
                <a:gd name="T15" fmla="*/ 274342880 h 21600"/>
                <a:gd name="T16" fmla="*/ 112048624 w 21600"/>
                <a:gd name="T17" fmla="*/ 0 h 21600"/>
                <a:gd name="T18" fmla="*/ 360055455 w 21600"/>
                <a:gd name="T19" fmla="*/ 133756480 h 21600"/>
                <a:gd name="T20" fmla="*/ 712049504 w 21600"/>
                <a:gd name="T21" fmla="*/ 72105141 h 21600"/>
                <a:gd name="T22" fmla="*/ 1112137549 w 21600"/>
                <a:gd name="T23" fmla="*/ 164689285 h 21600"/>
                <a:gd name="T24" fmla="*/ 1524051296 w 21600"/>
                <a:gd name="T25" fmla="*/ 284796621 h 21600"/>
                <a:gd name="T26" fmla="*/ 1863953074 w 21600"/>
                <a:gd name="T27" fmla="*/ 301862547 h 21600"/>
                <a:gd name="T28" fmla="*/ 2147483647 w 21600"/>
                <a:gd name="T29" fmla="*/ 387620356 h 21600"/>
                <a:gd name="T30" fmla="*/ 2147483647 w 21600"/>
                <a:gd name="T31" fmla="*/ 181755151 h 21600"/>
                <a:gd name="T32" fmla="*/ 2147483647 w 21600"/>
                <a:gd name="T33" fmla="*/ 47998671 h 21600"/>
                <a:gd name="T34" fmla="*/ 2147483647 w 21600"/>
                <a:gd name="T35" fmla="*/ 10239532 h 21600"/>
                <a:gd name="T36" fmla="*/ 2147483647 w 21600"/>
                <a:gd name="T37" fmla="*/ 37759139 h 21600"/>
                <a:gd name="T38" fmla="*/ 2147483647 w 21600"/>
                <a:gd name="T39" fmla="*/ 216101152 h 21600"/>
                <a:gd name="T40" fmla="*/ 2147483647 w 21600"/>
                <a:gd name="T41" fmla="*/ 161276087 h 21600"/>
                <a:gd name="T42" fmla="*/ 2147483647 w 21600"/>
                <a:gd name="T43" fmla="*/ 120103811 h 21600"/>
                <a:gd name="T44" fmla="*/ 2147483647 w 21600"/>
                <a:gd name="T45" fmla="*/ 325968957 h 21600"/>
                <a:gd name="T46" fmla="*/ 2147483647 w 21600"/>
                <a:gd name="T47" fmla="*/ 864411659 h 21600"/>
                <a:gd name="T48" fmla="*/ 2147483647 w 21600"/>
                <a:gd name="T49" fmla="*/ 1245205681 h 21600"/>
                <a:gd name="T50" fmla="*/ 2147483647 w 21600"/>
                <a:gd name="T51" fmla="*/ 1790688928 h 21600"/>
                <a:gd name="T52" fmla="*/ 2147483647 w 21600"/>
                <a:gd name="T53" fmla="*/ 1577997388 h 21600"/>
                <a:gd name="T54" fmla="*/ 2147483647 w 21600"/>
                <a:gd name="T55" fmla="*/ 1224512408 h 21600"/>
                <a:gd name="T56" fmla="*/ 2147483647 w 21600"/>
                <a:gd name="T57" fmla="*/ 1025687807 h 21600"/>
                <a:gd name="T58" fmla="*/ 2147483647 w 21600"/>
                <a:gd name="T59" fmla="*/ 675826589 h 21600"/>
                <a:gd name="T60" fmla="*/ 2147483647 w 21600"/>
                <a:gd name="T61" fmla="*/ 936516800 h 21600"/>
                <a:gd name="T62" fmla="*/ 2147483647 w 21600"/>
                <a:gd name="T63" fmla="*/ 1262271547 h 21600"/>
                <a:gd name="T64" fmla="*/ 2147483647 w 21600"/>
                <a:gd name="T65" fmla="*/ 1481785837 h 21600"/>
                <a:gd name="T66" fmla="*/ 2147483647 w 21600"/>
                <a:gd name="T67" fmla="*/ 1855753465 h 21600"/>
                <a:gd name="T68" fmla="*/ 2147483647 w 21600"/>
                <a:gd name="T69" fmla="*/ 2137136948 h 21600"/>
                <a:gd name="T70" fmla="*/ 2147483647 w 21600"/>
                <a:gd name="T71" fmla="*/ 2147483647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1911514061 w 21600"/>
                <a:gd name="T93" fmla="*/ 2147483647 h 21600"/>
                <a:gd name="T94" fmla="*/ 306315113 w 21600"/>
                <a:gd name="T95" fmla="*/ 2147483647 h 21600"/>
                <a:gd name="T96" fmla="*/ 306315113 w 21600"/>
                <a:gd name="T97" fmla="*/ 2147483647 h 2160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600" h="21600">
                  <a:moveTo>
                    <a:pt x="1140" y="21437"/>
                  </a:moveTo>
                  <a:lnTo>
                    <a:pt x="946" y="15198"/>
                  </a:lnTo>
                  <a:lnTo>
                    <a:pt x="886" y="10664"/>
                  </a:lnTo>
                  <a:lnTo>
                    <a:pt x="648" y="7014"/>
                  </a:lnTo>
                  <a:lnTo>
                    <a:pt x="655" y="5178"/>
                  </a:lnTo>
                  <a:lnTo>
                    <a:pt x="0" y="3926"/>
                  </a:lnTo>
                  <a:lnTo>
                    <a:pt x="391" y="2640"/>
                  </a:lnTo>
                  <a:lnTo>
                    <a:pt x="328" y="1286"/>
                  </a:lnTo>
                  <a:lnTo>
                    <a:pt x="417" y="0"/>
                  </a:lnTo>
                  <a:lnTo>
                    <a:pt x="1340" y="627"/>
                  </a:lnTo>
                  <a:lnTo>
                    <a:pt x="2650" y="338"/>
                  </a:lnTo>
                  <a:lnTo>
                    <a:pt x="4139" y="772"/>
                  </a:lnTo>
                  <a:lnTo>
                    <a:pt x="5672" y="1335"/>
                  </a:lnTo>
                  <a:lnTo>
                    <a:pt x="6937" y="1415"/>
                  </a:lnTo>
                  <a:lnTo>
                    <a:pt x="8262" y="1817"/>
                  </a:lnTo>
                  <a:lnTo>
                    <a:pt x="9513" y="852"/>
                  </a:lnTo>
                  <a:lnTo>
                    <a:pt x="11131" y="225"/>
                  </a:lnTo>
                  <a:lnTo>
                    <a:pt x="12262" y="48"/>
                  </a:lnTo>
                  <a:lnTo>
                    <a:pt x="13394" y="177"/>
                  </a:lnTo>
                  <a:lnTo>
                    <a:pt x="14510" y="1013"/>
                  </a:lnTo>
                  <a:lnTo>
                    <a:pt x="15910" y="756"/>
                  </a:lnTo>
                  <a:lnTo>
                    <a:pt x="16996" y="563"/>
                  </a:lnTo>
                  <a:lnTo>
                    <a:pt x="18024" y="1528"/>
                  </a:lnTo>
                  <a:lnTo>
                    <a:pt x="18887" y="4052"/>
                  </a:lnTo>
                  <a:lnTo>
                    <a:pt x="18649" y="5837"/>
                  </a:lnTo>
                  <a:lnTo>
                    <a:pt x="18262" y="8394"/>
                  </a:lnTo>
                  <a:lnTo>
                    <a:pt x="16996" y="7397"/>
                  </a:lnTo>
                  <a:lnTo>
                    <a:pt x="16014" y="5740"/>
                  </a:lnTo>
                  <a:lnTo>
                    <a:pt x="15329" y="4808"/>
                  </a:lnTo>
                  <a:lnTo>
                    <a:pt x="14674" y="3168"/>
                  </a:lnTo>
                  <a:lnTo>
                    <a:pt x="14346" y="4390"/>
                  </a:lnTo>
                  <a:lnTo>
                    <a:pt x="15016" y="5917"/>
                  </a:lnTo>
                  <a:lnTo>
                    <a:pt x="15776" y="6946"/>
                  </a:lnTo>
                  <a:lnTo>
                    <a:pt x="16728" y="8699"/>
                  </a:lnTo>
                  <a:lnTo>
                    <a:pt x="17741" y="10018"/>
                  </a:lnTo>
                  <a:lnTo>
                    <a:pt x="18589" y="11867"/>
                  </a:lnTo>
                  <a:lnTo>
                    <a:pt x="19650" y="13544"/>
                  </a:lnTo>
                  <a:lnTo>
                    <a:pt x="20275" y="14798"/>
                  </a:lnTo>
                  <a:lnTo>
                    <a:pt x="21540" y="16229"/>
                  </a:lnTo>
                  <a:lnTo>
                    <a:pt x="21362" y="17660"/>
                  </a:lnTo>
                  <a:lnTo>
                    <a:pt x="21600" y="19027"/>
                  </a:lnTo>
                  <a:lnTo>
                    <a:pt x="20409" y="19349"/>
                  </a:lnTo>
                  <a:lnTo>
                    <a:pt x="19962" y="20346"/>
                  </a:lnTo>
                  <a:lnTo>
                    <a:pt x="18980" y="20507"/>
                  </a:lnTo>
                  <a:lnTo>
                    <a:pt x="18102" y="21600"/>
                  </a:lnTo>
                  <a:lnTo>
                    <a:pt x="17030" y="21262"/>
                  </a:lnTo>
                  <a:lnTo>
                    <a:pt x="7114" y="21246"/>
                  </a:lnTo>
                  <a:lnTo>
                    <a:pt x="1140" y="21437"/>
                  </a:lnTo>
                  <a:close/>
                  <a:moveTo>
                    <a:pt x="1140" y="21437"/>
                  </a:moveTo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64E490EA-24A1-41C8-C026-F096748D1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745" y="4142007"/>
              <a:ext cx="891216" cy="679920"/>
            </a:xfrm>
            <a:custGeom>
              <a:avLst/>
              <a:gdLst>
                <a:gd name="T0" fmla="*/ 19562825 w 21600"/>
                <a:gd name="T1" fmla="*/ 2147483647 h 21600"/>
                <a:gd name="T2" fmla="*/ 39490978 w 21600"/>
                <a:gd name="T3" fmla="*/ 2147483647 h 21600"/>
                <a:gd name="T4" fmla="*/ 0 w 21600"/>
                <a:gd name="T5" fmla="*/ 2101016207 h 21600"/>
                <a:gd name="T6" fmla="*/ 796858644 w 21600"/>
                <a:gd name="T7" fmla="*/ 2130435224 h 21600"/>
                <a:gd name="T8" fmla="*/ 1341633566 w 21600"/>
                <a:gd name="T9" fmla="*/ 2091834845 h 21600"/>
                <a:gd name="T10" fmla="*/ 1381495037 w 21600"/>
                <a:gd name="T11" fmla="*/ 1740069010 h 21600"/>
                <a:gd name="T12" fmla="*/ 1429105517 w 21600"/>
                <a:gd name="T13" fmla="*/ 1203859760 h 21600"/>
                <a:gd name="T14" fmla="*/ 1761653023 w 21600"/>
                <a:gd name="T15" fmla="*/ 1447971441 h 21600"/>
                <a:gd name="T16" fmla="*/ 2147483647 w 21600"/>
                <a:gd name="T17" fmla="*/ 1316941796 h 21600"/>
                <a:gd name="T18" fmla="*/ 2147483647 w 21600"/>
                <a:gd name="T19" fmla="*/ 1597775426 h 21600"/>
                <a:gd name="T20" fmla="*/ 2147483647 w 21600"/>
                <a:gd name="T21" fmla="*/ 1575240606 h 21600"/>
                <a:gd name="T22" fmla="*/ 2147483647 w 21600"/>
                <a:gd name="T23" fmla="*/ 1629069433 h 21600"/>
                <a:gd name="T24" fmla="*/ 2147483647 w 21600"/>
                <a:gd name="T25" fmla="*/ 1526836221 h 21600"/>
                <a:gd name="T26" fmla="*/ 2147483647 w 21600"/>
                <a:gd name="T27" fmla="*/ 1788473395 h 21600"/>
                <a:gd name="T28" fmla="*/ 2147483647 w 21600"/>
                <a:gd name="T29" fmla="*/ 1890499138 h 21600"/>
                <a:gd name="T30" fmla="*/ 2147483647 w 21600"/>
                <a:gd name="T31" fmla="*/ 2080778492 h 21600"/>
                <a:gd name="T32" fmla="*/ 2147483647 w 21600"/>
                <a:gd name="T33" fmla="*/ 2147483647 h 21600"/>
                <a:gd name="T34" fmla="*/ 2147483647 w 21600"/>
                <a:gd name="T35" fmla="*/ 2147483647 h 21600"/>
                <a:gd name="T36" fmla="*/ 2147483647 w 21600"/>
                <a:gd name="T37" fmla="*/ 1867964319 h 21600"/>
                <a:gd name="T38" fmla="*/ 2147483647 w 21600"/>
                <a:gd name="T39" fmla="*/ 1966233082 h 21600"/>
                <a:gd name="T40" fmla="*/ 2147483647 w 21600"/>
                <a:gd name="T41" fmla="*/ 1548533751 h 21600"/>
                <a:gd name="T42" fmla="*/ 2147483647 w 21600"/>
                <a:gd name="T43" fmla="*/ 1204904519 h 21600"/>
                <a:gd name="T44" fmla="*/ 2147483647 w 21600"/>
                <a:gd name="T45" fmla="*/ 787620303 h 21600"/>
                <a:gd name="T46" fmla="*/ 2147483647 w 21600"/>
                <a:gd name="T47" fmla="*/ 457133442 h 21600"/>
                <a:gd name="T48" fmla="*/ 2147483647 w 21600"/>
                <a:gd name="T49" fmla="*/ 73025282 h 21600"/>
                <a:gd name="T50" fmla="*/ 2147483647 w 21600"/>
                <a:gd name="T51" fmla="*/ 12519726 h 21600"/>
                <a:gd name="T52" fmla="*/ 2147483647 w 21600"/>
                <a:gd name="T53" fmla="*/ 0 h 21600"/>
                <a:gd name="T54" fmla="*/ 2147483647 w 21600"/>
                <a:gd name="T55" fmla="*/ 167540565 h 21600"/>
                <a:gd name="T56" fmla="*/ 2147483647 w 21600"/>
                <a:gd name="T57" fmla="*/ 255168033 h 21600"/>
                <a:gd name="T58" fmla="*/ 2147483647 w 21600"/>
                <a:gd name="T59" fmla="*/ 460679334 h 21600"/>
                <a:gd name="T60" fmla="*/ 2147483647 w 21600"/>
                <a:gd name="T61" fmla="*/ 569589335 h 21600"/>
                <a:gd name="T62" fmla="*/ 2147483647 w 21600"/>
                <a:gd name="T63" fmla="*/ 844787494 h 21600"/>
                <a:gd name="T64" fmla="*/ 2147483647 w 21600"/>
                <a:gd name="T65" fmla="*/ 1092863742 h 21600"/>
                <a:gd name="T66" fmla="*/ 2147483647 w 21600"/>
                <a:gd name="T67" fmla="*/ 1392264124 h 21600"/>
                <a:gd name="T68" fmla="*/ 2147483647 w 21600"/>
                <a:gd name="T69" fmla="*/ 1727341696 h 21600"/>
                <a:gd name="T70" fmla="*/ 2147483647 w 21600"/>
                <a:gd name="T71" fmla="*/ 1979797567 h 21600"/>
                <a:gd name="T72" fmla="*/ 2147483647 w 21600"/>
                <a:gd name="T73" fmla="*/ 2096010440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1976463417 w 21600"/>
                <a:gd name="T103" fmla="*/ 2147483647 h 21600"/>
                <a:gd name="T104" fmla="*/ 848533931 w 21600"/>
                <a:gd name="T105" fmla="*/ 2147483647 h 21600"/>
                <a:gd name="T106" fmla="*/ 394184360 w 21600"/>
                <a:gd name="T107" fmla="*/ 2147483647 h 21600"/>
                <a:gd name="T108" fmla="*/ 19562825 w 21600"/>
                <a:gd name="T109" fmla="*/ 2147483647 h 21600"/>
                <a:gd name="T110" fmla="*/ 19562825 w 21600"/>
                <a:gd name="T111" fmla="*/ 2147483647 h 216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1600" h="21600">
                  <a:moveTo>
                    <a:pt x="53" y="18045"/>
                  </a:moveTo>
                  <a:lnTo>
                    <a:pt x="107" y="14558"/>
                  </a:lnTo>
                  <a:lnTo>
                    <a:pt x="0" y="10070"/>
                  </a:lnTo>
                  <a:lnTo>
                    <a:pt x="2159" y="10211"/>
                  </a:lnTo>
                  <a:lnTo>
                    <a:pt x="3635" y="10026"/>
                  </a:lnTo>
                  <a:lnTo>
                    <a:pt x="3743" y="8340"/>
                  </a:lnTo>
                  <a:lnTo>
                    <a:pt x="3872" y="5770"/>
                  </a:lnTo>
                  <a:lnTo>
                    <a:pt x="4773" y="6940"/>
                  </a:lnTo>
                  <a:lnTo>
                    <a:pt x="6283" y="6312"/>
                  </a:lnTo>
                  <a:lnTo>
                    <a:pt x="6348" y="7658"/>
                  </a:lnTo>
                  <a:lnTo>
                    <a:pt x="7377" y="7550"/>
                  </a:lnTo>
                  <a:lnTo>
                    <a:pt x="8423" y="7808"/>
                  </a:lnTo>
                  <a:lnTo>
                    <a:pt x="9505" y="7318"/>
                  </a:lnTo>
                  <a:lnTo>
                    <a:pt x="10217" y="8572"/>
                  </a:lnTo>
                  <a:lnTo>
                    <a:pt x="11153" y="9061"/>
                  </a:lnTo>
                  <a:lnTo>
                    <a:pt x="12500" y="9973"/>
                  </a:lnTo>
                  <a:lnTo>
                    <a:pt x="13088" y="11346"/>
                  </a:lnTo>
                  <a:lnTo>
                    <a:pt x="14446" y="11552"/>
                  </a:lnTo>
                  <a:lnTo>
                    <a:pt x="14464" y="8953"/>
                  </a:lnTo>
                  <a:lnTo>
                    <a:pt x="13355" y="9424"/>
                  </a:lnTo>
                  <a:lnTo>
                    <a:pt x="11672" y="7422"/>
                  </a:lnTo>
                  <a:lnTo>
                    <a:pt x="12100" y="5775"/>
                  </a:lnTo>
                  <a:lnTo>
                    <a:pt x="12584" y="3775"/>
                  </a:lnTo>
                  <a:lnTo>
                    <a:pt x="11939" y="2191"/>
                  </a:lnTo>
                  <a:lnTo>
                    <a:pt x="13084" y="350"/>
                  </a:lnTo>
                  <a:lnTo>
                    <a:pt x="14397" y="60"/>
                  </a:lnTo>
                  <a:lnTo>
                    <a:pt x="16277" y="0"/>
                  </a:lnTo>
                  <a:lnTo>
                    <a:pt x="17468" y="803"/>
                  </a:lnTo>
                  <a:lnTo>
                    <a:pt x="18724" y="1223"/>
                  </a:lnTo>
                  <a:lnTo>
                    <a:pt x="19813" y="2208"/>
                  </a:lnTo>
                  <a:lnTo>
                    <a:pt x="20992" y="2730"/>
                  </a:lnTo>
                  <a:lnTo>
                    <a:pt x="21122" y="4049"/>
                  </a:lnTo>
                  <a:lnTo>
                    <a:pt x="21600" y="5238"/>
                  </a:lnTo>
                  <a:lnTo>
                    <a:pt x="21060" y="6673"/>
                  </a:lnTo>
                  <a:lnTo>
                    <a:pt x="20874" y="8279"/>
                  </a:lnTo>
                  <a:lnTo>
                    <a:pt x="21290" y="9489"/>
                  </a:lnTo>
                  <a:lnTo>
                    <a:pt x="20369" y="10046"/>
                  </a:lnTo>
                  <a:lnTo>
                    <a:pt x="20448" y="11653"/>
                  </a:lnTo>
                  <a:lnTo>
                    <a:pt x="19492" y="11995"/>
                  </a:lnTo>
                  <a:lnTo>
                    <a:pt x="20466" y="13162"/>
                  </a:lnTo>
                  <a:lnTo>
                    <a:pt x="18232" y="13766"/>
                  </a:lnTo>
                  <a:lnTo>
                    <a:pt x="16495" y="14483"/>
                  </a:lnTo>
                  <a:lnTo>
                    <a:pt x="15060" y="15051"/>
                  </a:lnTo>
                  <a:lnTo>
                    <a:pt x="15166" y="16732"/>
                  </a:lnTo>
                  <a:lnTo>
                    <a:pt x="13510" y="16689"/>
                  </a:lnTo>
                  <a:lnTo>
                    <a:pt x="12571" y="17300"/>
                  </a:lnTo>
                  <a:lnTo>
                    <a:pt x="12562" y="18563"/>
                  </a:lnTo>
                  <a:lnTo>
                    <a:pt x="11191" y="18960"/>
                  </a:lnTo>
                  <a:lnTo>
                    <a:pt x="10164" y="20234"/>
                  </a:lnTo>
                  <a:lnTo>
                    <a:pt x="9056" y="21600"/>
                  </a:lnTo>
                  <a:lnTo>
                    <a:pt x="5949" y="21557"/>
                  </a:lnTo>
                  <a:lnTo>
                    <a:pt x="5355" y="20540"/>
                  </a:lnTo>
                  <a:lnTo>
                    <a:pt x="2299" y="20572"/>
                  </a:lnTo>
                  <a:lnTo>
                    <a:pt x="1068" y="19142"/>
                  </a:lnTo>
                  <a:lnTo>
                    <a:pt x="53" y="18045"/>
                  </a:lnTo>
                  <a:close/>
                  <a:moveTo>
                    <a:pt x="53" y="18045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CB0AA459-421F-8147-8247-E6353A5AB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084" y="2751837"/>
              <a:ext cx="325988" cy="454122"/>
            </a:xfrm>
            <a:custGeom>
              <a:avLst/>
              <a:gdLst>
                <a:gd name="T0" fmla="*/ 34192608 w 21600"/>
                <a:gd name="T1" fmla="*/ 1311617342 h 21600"/>
                <a:gd name="T2" fmla="*/ 45229417 w 21600"/>
                <a:gd name="T3" fmla="*/ 1207243771 h 21600"/>
                <a:gd name="T4" fmla="*/ 9374250 w 21600"/>
                <a:gd name="T5" fmla="*/ 1104174291 h 21600"/>
                <a:gd name="T6" fmla="*/ 0 w 21600"/>
                <a:gd name="T7" fmla="*/ 983511728 h 21600"/>
                <a:gd name="T8" fmla="*/ 20411059 w 21600"/>
                <a:gd name="T9" fmla="*/ 857813435 h 21600"/>
                <a:gd name="T10" fmla="*/ 51840352 w 21600"/>
                <a:gd name="T11" fmla="*/ 704453610 h 21600"/>
                <a:gd name="T12" fmla="*/ 67283751 w 21600"/>
                <a:gd name="T13" fmla="*/ 582485410 h 21600"/>
                <a:gd name="T14" fmla="*/ 55705157 w 21600"/>
                <a:gd name="T15" fmla="*/ 456788662 h 21600"/>
                <a:gd name="T16" fmla="*/ 54061882 w 21600"/>
                <a:gd name="T17" fmla="*/ 356267669 h 21600"/>
                <a:gd name="T18" fmla="*/ 49328972 w 21600"/>
                <a:gd name="T19" fmla="*/ 239583221 h 21600"/>
                <a:gd name="T20" fmla="*/ 45789096 w 21600"/>
                <a:gd name="T21" fmla="*/ 119915563 h 21600"/>
                <a:gd name="T22" fmla="*/ 62334668 w 21600"/>
                <a:gd name="T23" fmla="*/ 17593045 h 21600"/>
                <a:gd name="T24" fmla="*/ 115276510 w 21600"/>
                <a:gd name="T25" fmla="*/ 10069993 h 21600"/>
                <a:gd name="T26" fmla="*/ 191392726 w 21600"/>
                <a:gd name="T27" fmla="*/ 18835933 h 21600"/>
                <a:gd name="T28" fmla="*/ 245454608 w 21600"/>
                <a:gd name="T29" fmla="*/ 15105762 h 21600"/>
                <a:gd name="T30" fmla="*/ 305567064 w 21600"/>
                <a:gd name="T31" fmla="*/ 0 h 21600"/>
                <a:gd name="T32" fmla="*/ 301701550 w 21600"/>
                <a:gd name="T33" fmla="*/ 128246819 h 21600"/>
                <a:gd name="T34" fmla="*/ 346389182 w 21600"/>
                <a:gd name="T35" fmla="*/ 199860341 h 21600"/>
                <a:gd name="T36" fmla="*/ 326519908 w 21600"/>
                <a:gd name="T37" fmla="*/ 346943092 h 21600"/>
                <a:gd name="T38" fmla="*/ 342523695 w 21600"/>
                <a:gd name="T39" fmla="*/ 470154102 h 21600"/>
                <a:gd name="T40" fmla="*/ 349694308 w 21600"/>
                <a:gd name="T41" fmla="*/ 614686783 h 21600"/>
                <a:gd name="T42" fmla="*/ 349568341 w 21600"/>
                <a:gd name="T43" fmla="*/ 790240738 h 21600"/>
                <a:gd name="T44" fmla="*/ 356160673 w 21600"/>
                <a:gd name="T45" fmla="*/ 952490455 h 21600"/>
                <a:gd name="T46" fmla="*/ 390155027 w 21600"/>
                <a:gd name="T47" fmla="*/ 1038651102 h 21600"/>
                <a:gd name="T48" fmla="*/ 348032457 w 21600"/>
                <a:gd name="T49" fmla="*/ 1146695187 h 21600"/>
                <a:gd name="T50" fmla="*/ 290123664 w 21600"/>
                <a:gd name="T51" fmla="*/ 1188158349 h 21600"/>
                <a:gd name="T52" fmla="*/ 229450847 w 21600"/>
                <a:gd name="T53" fmla="*/ 1247214595 h 21600"/>
                <a:gd name="T54" fmla="*/ 177050790 w 21600"/>
                <a:gd name="T55" fmla="*/ 1281157875 h 21600"/>
                <a:gd name="T56" fmla="*/ 116938361 w 21600"/>
                <a:gd name="T57" fmla="*/ 1342762607 h 21600"/>
                <a:gd name="T58" fmla="*/ 34192608 w 21600"/>
                <a:gd name="T59" fmla="*/ 1311617342 h 21600"/>
                <a:gd name="T60" fmla="*/ 34192608 w 21600"/>
                <a:gd name="T61" fmla="*/ 1311617342 h 216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1600" h="21600">
                  <a:moveTo>
                    <a:pt x="1893" y="21099"/>
                  </a:moveTo>
                  <a:lnTo>
                    <a:pt x="2504" y="19420"/>
                  </a:lnTo>
                  <a:lnTo>
                    <a:pt x="519" y="17762"/>
                  </a:lnTo>
                  <a:lnTo>
                    <a:pt x="0" y="15821"/>
                  </a:lnTo>
                  <a:lnTo>
                    <a:pt x="1130" y="13799"/>
                  </a:lnTo>
                  <a:lnTo>
                    <a:pt x="2870" y="11332"/>
                  </a:lnTo>
                  <a:lnTo>
                    <a:pt x="3725" y="9370"/>
                  </a:lnTo>
                  <a:lnTo>
                    <a:pt x="3084" y="7348"/>
                  </a:lnTo>
                  <a:lnTo>
                    <a:pt x="2993" y="5731"/>
                  </a:lnTo>
                  <a:lnTo>
                    <a:pt x="2731" y="3854"/>
                  </a:lnTo>
                  <a:lnTo>
                    <a:pt x="2535" y="1929"/>
                  </a:lnTo>
                  <a:lnTo>
                    <a:pt x="3451" y="283"/>
                  </a:lnTo>
                  <a:lnTo>
                    <a:pt x="6382" y="162"/>
                  </a:lnTo>
                  <a:lnTo>
                    <a:pt x="10596" y="303"/>
                  </a:lnTo>
                  <a:lnTo>
                    <a:pt x="13589" y="243"/>
                  </a:lnTo>
                  <a:lnTo>
                    <a:pt x="16917" y="0"/>
                  </a:lnTo>
                  <a:lnTo>
                    <a:pt x="16703" y="2063"/>
                  </a:lnTo>
                  <a:lnTo>
                    <a:pt x="19177" y="3215"/>
                  </a:lnTo>
                  <a:lnTo>
                    <a:pt x="18077" y="5581"/>
                  </a:lnTo>
                  <a:lnTo>
                    <a:pt x="18963" y="7563"/>
                  </a:lnTo>
                  <a:lnTo>
                    <a:pt x="19360" y="9888"/>
                  </a:lnTo>
                  <a:lnTo>
                    <a:pt x="19353" y="12712"/>
                  </a:lnTo>
                  <a:lnTo>
                    <a:pt x="19718" y="15322"/>
                  </a:lnTo>
                  <a:lnTo>
                    <a:pt x="21600" y="16708"/>
                  </a:lnTo>
                  <a:lnTo>
                    <a:pt x="19268" y="18446"/>
                  </a:lnTo>
                  <a:lnTo>
                    <a:pt x="16062" y="19113"/>
                  </a:lnTo>
                  <a:lnTo>
                    <a:pt x="12703" y="20063"/>
                  </a:lnTo>
                  <a:lnTo>
                    <a:pt x="9802" y="20609"/>
                  </a:lnTo>
                  <a:lnTo>
                    <a:pt x="6474" y="21600"/>
                  </a:lnTo>
                  <a:lnTo>
                    <a:pt x="1893" y="21099"/>
                  </a:lnTo>
                  <a:close/>
                  <a:moveTo>
                    <a:pt x="1893" y="21099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C60059F-47C7-20AA-444C-B12E18D25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3910" y="2616190"/>
              <a:ext cx="568880" cy="821465"/>
            </a:xfrm>
            <a:custGeom>
              <a:avLst/>
              <a:gdLst>
                <a:gd name="T0" fmla="*/ 10270752 w 21600"/>
                <a:gd name="T1" fmla="*/ 2147483647 h 21600"/>
                <a:gd name="T2" fmla="*/ 26589954 w 21600"/>
                <a:gd name="T3" fmla="*/ 2147483647 h 21600"/>
                <a:gd name="T4" fmla="*/ 65276715 w 21600"/>
                <a:gd name="T5" fmla="*/ 2147483647 h 21600"/>
                <a:gd name="T6" fmla="*/ 183540526 w 21600"/>
                <a:gd name="T7" fmla="*/ 2147483647 h 21600"/>
                <a:gd name="T8" fmla="*/ 348074120 w 21600"/>
                <a:gd name="T9" fmla="*/ 2147483647 h 21600"/>
                <a:gd name="T10" fmla="*/ 553019933 w 21600"/>
                <a:gd name="T11" fmla="*/ 2147483647 h 21600"/>
                <a:gd name="T12" fmla="*/ 646326897 w 21600"/>
                <a:gd name="T13" fmla="*/ 2147483647 h 21600"/>
                <a:gd name="T14" fmla="*/ 823722545 w 21600"/>
                <a:gd name="T15" fmla="*/ 2147483647 h 21600"/>
                <a:gd name="T16" fmla="*/ 921541235 w 21600"/>
                <a:gd name="T17" fmla="*/ 2147483647 h 21600"/>
                <a:gd name="T18" fmla="*/ 1003135046 w 21600"/>
                <a:gd name="T19" fmla="*/ 2147483647 h 21600"/>
                <a:gd name="T20" fmla="*/ 1083483571 w 21600"/>
                <a:gd name="T21" fmla="*/ 2147483647 h 21600"/>
                <a:gd name="T22" fmla="*/ 1160085618 w 21600"/>
                <a:gd name="T23" fmla="*/ 2147483647 h 21600"/>
                <a:gd name="T24" fmla="*/ 1290540559 w 21600"/>
                <a:gd name="T25" fmla="*/ 2147483647 h 21600"/>
                <a:gd name="T26" fmla="*/ 1330187532 w 21600"/>
                <a:gd name="T27" fmla="*/ 2086302947 h 21600"/>
                <a:gd name="T28" fmla="*/ 1401510590 w 21600"/>
                <a:gd name="T29" fmla="*/ 1706943870 h 21600"/>
                <a:gd name="T30" fmla="*/ 1466785245 w 21600"/>
                <a:gd name="T31" fmla="*/ 1367688125 h 21600"/>
                <a:gd name="T32" fmla="*/ 1619704220 w 21600"/>
                <a:gd name="T33" fmla="*/ 1237801534 h 21600"/>
                <a:gd name="T34" fmla="*/ 1623735772 w 21600"/>
                <a:gd name="T35" fmla="*/ 778590139 h 21600"/>
                <a:gd name="T36" fmla="*/ 1507583180 w 21600"/>
                <a:gd name="T37" fmla="*/ 504095321 h 21600"/>
                <a:gd name="T38" fmla="*/ 1476961675 w 21600"/>
                <a:gd name="T39" fmla="*/ 0 h 21600"/>
                <a:gd name="T40" fmla="*/ 1595225440 w 21600"/>
                <a:gd name="T41" fmla="*/ 324534108 h 21600"/>
                <a:gd name="T42" fmla="*/ 1768495169 w 21600"/>
                <a:gd name="T43" fmla="*/ 523967305 h 21600"/>
                <a:gd name="T44" fmla="*/ 1820524068 w 21600"/>
                <a:gd name="T45" fmla="*/ 1132932116 h 21600"/>
                <a:gd name="T46" fmla="*/ 1824652094 w 21600"/>
                <a:gd name="T47" fmla="*/ 1617160612 h 21600"/>
                <a:gd name="T48" fmla="*/ 1924485530 w 21600"/>
                <a:gd name="T49" fmla="*/ 2147483647 h 21600"/>
                <a:gd name="T50" fmla="*/ 1547324521 w 21600"/>
                <a:gd name="T51" fmla="*/ 2147483647 h 21600"/>
                <a:gd name="T52" fmla="*/ 1549437802 w 21600"/>
                <a:gd name="T53" fmla="*/ 2147483647 h 21600"/>
                <a:gd name="T54" fmla="*/ 1747951512 w 21600"/>
                <a:gd name="T55" fmla="*/ 2147483647 h 21600"/>
                <a:gd name="T56" fmla="*/ 1838858015 w 21600"/>
                <a:gd name="T57" fmla="*/ 2147483647 h 21600"/>
                <a:gd name="T58" fmla="*/ 1904134730 w 21600"/>
                <a:gd name="T59" fmla="*/ 2147483647 h 21600"/>
                <a:gd name="T60" fmla="*/ 1814475664 w 21600"/>
                <a:gd name="T61" fmla="*/ 2147483647 h 21600"/>
                <a:gd name="T62" fmla="*/ 1730865002 w 21600"/>
                <a:gd name="T63" fmla="*/ 2147483647 h 21600"/>
                <a:gd name="T64" fmla="*/ 1622872034 w 21600"/>
                <a:gd name="T65" fmla="*/ 2147483647 h 21600"/>
                <a:gd name="T66" fmla="*/ 1701394459 w 21600"/>
                <a:gd name="T67" fmla="*/ 2147483647 h 21600"/>
                <a:gd name="T68" fmla="*/ 1779822561 w 21600"/>
                <a:gd name="T69" fmla="*/ 2147483647 h 21600"/>
                <a:gd name="T70" fmla="*/ 1845002848 w 21600"/>
                <a:gd name="T71" fmla="*/ 2147483647 h 21600"/>
                <a:gd name="T72" fmla="*/ 2073467275 w 21600"/>
                <a:gd name="T73" fmla="*/ 2147483647 h 21600"/>
                <a:gd name="T74" fmla="*/ 2061083197 w 21600"/>
                <a:gd name="T75" fmla="*/ 2147483647 h 21600"/>
                <a:gd name="T76" fmla="*/ 1881960028 w 21600"/>
                <a:gd name="T77" fmla="*/ 2147483647 h 21600"/>
                <a:gd name="T78" fmla="*/ 1708403074 w 21600"/>
                <a:gd name="T79" fmla="*/ 2147483647 h 21600"/>
                <a:gd name="T80" fmla="*/ 1608569685 w 21600"/>
                <a:gd name="T81" fmla="*/ 2147483647 h 21600"/>
                <a:gd name="T82" fmla="*/ 1451522683 w 21600"/>
                <a:gd name="T83" fmla="*/ 2147483647 h 21600"/>
                <a:gd name="T84" fmla="*/ 1212978300 w 21600"/>
                <a:gd name="T85" fmla="*/ 2147483647 h 21600"/>
                <a:gd name="T86" fmla="*/ 990849548 w 21600"/>
                <a:gd name="T87" fmla="*/ 2147483647 h 21600"/>
                <a:gd name="T88" fmla="*/ 722545290 w 21600"/>
                <a:gd name="T89" fmla="*/ 2147483647 h 21600"/>
                <a:gd name="T90" fmla="*/ 487265196 w 21600"/>
                <a:gd name="T91" fmla="*/ 2147483647 h 21600"/>
                <a:gd name="T92" fmla="*/ 307852696 w 21600"/>
                <a:gd name="T93" fmla="*/ 2147483647 h 21600"/>
                <a:gd name="T94" fmla="*/ 297676266 w 21600"/>
                <a:gd name="T95" fmla="*/ 2147483647 h 21600"/>
                <a:gd name="T96" fmla="*/ 269071566 w 21600"/>
                <a:gd name="T97" fmla="*/ 2147483647 h 21600"/>
                <a:gd name="T98" fmla="*/ 152918975 w 21600"/>
                <a:gd name="T99" fmla="*/ 2147483647 h 21600"/>
                <a:gd name="T100" fmla="*/ 0 w 21600"/>
                <a:gd name="T101" fmla="*/ 2147483647 h 21600"/>
                <a:gd name="T102" fmla="*/ 10270752 w 21600"/>
                <a:gd name="T103" fmla="*/ 2147483647 h 21600"/>
                <a:gd name="T104" fmla="*/ 10270752 w 21600"/>
                <a:gd name="T105" fmla="*/ 2147483647 h 216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1600" h="21600">
                  <a:moveTo>
                    <a:pt x="107" y="15541"/>
                  </a:moveTo>
                  <a:lnTo>
                    <a:pt x="277" y="14619"/>
                  </a:lnTo>
                  <a:lnTo>
                    <a:pt x="680" y="13710"/>
                  </a:lnTo>
                  <a:lnTo>
                    <a:pt x="1912" y="12788"/>
                  </a:lnTo>
                  <a:lnTo>
                    <a:pt x="3626" y="11455"/>
                  </a:lnTo>
                  <a:lnTo>
                    <a:pt x="5761" y="11402"/>
                  </a:lnTo>
                  <a:lnTo>
                    <a:pt x="6733" y="12489"/>
                  </a:lnTo>
                  <a:lnTo>
                    <a:pt x="8581" y="11947"/>
                  </a:lnTo>
                  <a:lnTo>
                    <a:pt x="9600" y="10360"/>
                  </a:lnTo>
                  <a:lnTo>
                    <a:pt x="10450" y="8781"/>
                  </a:lnTo>
                  <a:lnTo>
                    <a:pt x="11287" y="8407"/>
                  </a:lnTo>
                  <a:lnTo>
                    <a:pt x="12085" y="7444"/>
                  </a:lnTo>
                  <a:lnTo>
                    <a:pt x="13444" y="6657"/>
                  </a:lnTo>
                  <a:lnTo>
                    <a:pt x="13857" y="5670"/>
                  </a:lnTo>
                  <a:lnTo>
                    <a:pt x="14600" y="4639"/>
                  </a:lnTo>
                  <a:lnTo>
                    <a:pt x="15280" y="3717"/>
                  </a:lnTo>
                  <a:lnTo>
                    <a:pt x="16873" y="3364"/>
                  </a:lnTo>
                  <a:lnTo>
                    <a:pt x="16915" y="2116"/>
                  </a:lnTo>
                  <a:lnTo>
                    <a:pt x="15705" y="1370"/>
                  </a:lnTo>
                  <a:lnTo>
                    <a:pt x="15386" y="0"/>
                  </a:lnTo>
                  <a:lnTo>
                    <a:pt x="16618" y="882"/>
                  </a:lnTo>
                  <a:lnTo>
                    <a:pt x="18423" y="1424"/>
                  </a:lnTo>
                  <a:lnTo>
                    <a:pt x="18965" y="3079"/>
                  </a:lnTo>
                  <a:lnTo>
                    <a:pt x="19008" y="4395"/>
                  </a:lnTo>
                  <a:lnTo>
                    <a:pt x="20048" y="5955"/>
                  </a:lnTo>
                  <a:lnTo>
                    <a:pt x="16119" y="6158"/>
                  </a:lnTo>
                  <a:lnTo>
                    <a:pt x="16141" y="7243"/>
                  </a:lnTo>
                  <a:lnTo>
                    <a:pt x="18209" y="8314"/>
                  </a:lnTo>
                  <a:lnTo>
                    <a:pt x="19156" y="9210"/>
                  </a:lnTo>
                  <a:lnTo>
                    <a:pt x="19836" y="10526"/>
                  </a:lnTo>
                  <a:lnTo>
                    <a:pt x="18902" y="11882"/>
                  </a:lnTo>
                  <a:lnTo>
                    <a:pt x="18031" y="12650"/>
                  </a:lnTo>
                  <a:lnTo>
                    <a:pt x="16906" y="13450"/>
                  </a:lnTo>
                  <a:lnTo>
                    <a:pt x="17724" y="15348"/>
                  </a:lnTo>
                  <a:lnTo>
                    <a:pt x="18541" y="16583"/>
                  </a:lnTo>
                  <a:lnTo>
                    <a:pt x="19220" y="17668"/>
                  </a:lnTo>
                  <a:lnTo>
                    <a:pt x="21600" y="18793"/>
                  </a:lnTo>
                  <a:lnTo>
                    <a:pt x="21471" y="21600"/>
                  </a:lnTo>
                  <a:lnTo>
                    <a:pt x="19605" y="21365"/>
                  </a:lnTo>
                  <a:lnTo>
                    <a:pt x="17797" y="21057"/>
                  </a:lnTo>
                  <a:lnTo>
                    <a:pt x="16757" y="20420"/>
                  </a:lnTo>
                  <a:lnTo>
                    <a:pt x="15121" y="20393"/>
                  </a:lnTo>
                  <a:lnTo>
                    <a:pt x="12636" y="20366"/>
                  </a:lnTo>
                  <a:lnTo>
                    <a:pt x="10322" y="20244"/>
                  </a:lnTo>
                  <a:lnTo>
                    <a:pt x="7527" y="20311"/>
                  </a:lnTo>
                  <a:lnTo>
                    <a:pt x="5076" y="20230"/>
                  </a:lnTo>
                  <a:lnTo>
                    <a:pt x="3207" y="20149"/>
                  </a:lnTo>
                  <a:lnTo>
                    <a:pt x="3101" y="19104"/>
                  </a:lnTo>
                  <a:lnTo>
                    <a:pt x="2803" y="18101"/>
                  </a:lnTo>
                  <a:lnTo>
                    <a:pt x="1593" y="17422"/>
                  </a:lnTo>
                  <a:lnTo>
                    <a:pt x="0" y="16690"/>
                  </a:lnTo>
                  <a:lnTo>
                    <a:pt x="107" y="15541"/>
                  </a:lnTo>
                  <a:close/>
                  <a:moveTo>
                    <a:pt x="107" y="15541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249FA23F-2B7B-57CB-3C83-F87A740E0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6491" y="3297795"/>
              <a:ext cx="588056" cy="604935"/>
            </a:xfrm>
            <a:custGeom>
              <a:avLst/>
              <a:gdLst>
                <a:gd name="T0" fmla="*/ 0 w 21600"/>
                <a:gd name="T1" fmla="*/ 2147483647 h 21600"/>
                <a:gd name="T2" fmla="*/ 264019521 w 21600"/>
                <a:gd name="T3" fmla="*/ 2147483647 h 21600"/>
                <a:gd name="T4" fmla="*/ 245040303 w 21600"/>
                <a:gd name="T5" fmla="*/ 2147483647 h 21600"/>
                <a:gd name="T6" fmla="*/ 170817173 w 21600"/>
                <a:gd name="T7" fmla="*/ 2147483647 h 21600"/>
                <a:gd name="T8" fmla="*/ 401119070 w 21600"/>
                <a:gd name="T9" fmla="*/ 2147483647 h 21600"/>
                <a:gd name="T10" fmla="*/ 486686688 w 21600"/>
                <a:gd name="T11" fmla="*/ 2017841116 h 21600"/>
                <a:gd name="T12" fmla="*/ 617636849 w 21600"/>
                <a:gd name="T13" fmla="*/ 2147483647 h 21600"/>
                <a:gd name="T14" fmla="*/ 760993322 w 21600"/>
                <a:gd name="T15" fmla="*/ 2110268839 h 21600"/>
                <a:gd name="T16" fmla="*/ 932446766 w 21600"/>
                <a:gd name="T17" fmla="*/ 2147483647 h 21600"/>
                <a:gd name="T18" fmla="*/ 953016495 w 21600"/>
                <a:gd name="T19" fmla="*/ 2012257873 h 21600"/>
                <a:gd name="T20" fmla="*/ 1013455508 w 21600"/>
                <a:gd name="T21" fmla="*/ 1625499419 h 21600"/>
                <a:gd name="T22" fmla="*/ 875719735 w 21600"/>
                <a:gd name="T23" fmla="*/ 1491485920 h 21600"/>
                <a:gd name="T24" fmla="*/ 853559447 w 21600"/>
                <a:gd name="T25" fmla="*/ 1192454678 h 21600"/>
                <a:gd name="T26" fmla="*/ 1027026825 w 21600"/>
                <a:gd name="T27" fmla="*/ 1077396204 h 21600"/>
                <a:gd name="T28" fmla="*/ 978994124 w 21600"/>
                <a:gd name="T29" fmla="*/ 829649700 h 21600"/>
                <a:gd name="T30" fmla="*/ 817507505 w 21600"/>
                <a:gd name="T31" fmla="*/ 845959329 h 21600"/>
                <a:gd name="T32" fmla="*/ 655915574 w 21600"/>
                <a:gd name="T33" fmla="*/ 809811943 h 21600"/>
                <a:gd name="T34" fmla="*/ 626967355 w 21600"/>
                <a:gd name="T35" fmla="*/ 458465688 h 21600"/>
                <a:gd name="T36" fmla="*/ 1011334037 w 21600"/>
                <a:gd name="T37" fmla="*/ 468459790 h 21600"/>
                <a:gd name="T38" fmla="*/ 1150767904 w 21600"/>
                <a:gd name="T39" fmla="*/ 628481827 h 21600"/>
                <a:gd name="T40" fmla="*/ 1319571094 w 21600"/>
                <a:gd name="T41" fmla="*/ 675503250 h 21600"/>
                <a:gd name="T42" fmla="*/ 1499187908 w 21600"/>
                <a:gd name="T43" fmla="*/ 717824160 h 21600"/>
                <a:gd name="T44" fmla="*/ 1519016150 w 21600"/>
                <a:gd name="T45" fmla="*/ 525472465 h 21600"/>
                <a:gd name="T46" fmla="*/ 1661628863 w 21600"/>
                <a:gd name="T47" fmla="*/ 306672238 h 21600"/>
                <a:gd name="T48" fmla="*/ 1669899816 w 21600"/>
                <a:gd name="T49" fmla="*/ 26596075 h 21600"/>
                <a:gd name="T50" fmla="*/ 2004432615 w 21600"/>
                <a:gd name="T51" fmla="*/ 6318324 h 21600"/>
                <a:gd name="T52" fmla="*/ 2147483647 w 21600"/>
                <a:gd name="T53" fmla="*/ 0 h 21600"/>
                <a:gd name="T54" fmla="*/ 2147483647 w 21600"/>
                <a:gd name="T55" fmla="*/ 339294293 h 21600"/>
                <a:gd name="T56" fmla="*/ 2100390434 w 21600"/>
                <a:gd name="T57" fmla="*/ 577932277 h 21600"/>
                <a:gd name="T58" fmla="*/ 2077170499 w 21600"/>
                <a:gd name="T59" fmla="*/ 919724370 h 21600"/>
                <a:gd name="T60" fmla="*/ 2056811345 w 21600"/>
                <a:gd name="T61" fmla="*/ 1171001852 h 21600"/>
                <a:gd name="T62" fmla="*/ 1994145502 w 21600"/>
                <a:gd name="T63" fmla="*/ 1413312764 h 21600"/>
                <a:gd name="T64" fmla="*/ 1995630797 w 21600"/>
                <a:gd name="T65" fmla="*/ 1614037846 h 21600"/>
                <a:gd name="T66" fmla="*/ 1870511960 w 21600"/>
                <a:gd name="T67" fmla="*/ 1733944375 h 21600"/>
                <a:gd name="T68" fmla="*/ 1730762252 w 21600"/>
                <a:gd name="T69" fmla="*/ 1891321016 h 21600"/>
                <a:gd name="T70" fmla="*/ 1572138592 w 21600"/>
                <a:gd name="T71" fmla="*/ 2147483647 h 21600"/>
                <a:gd name="T72" fmla="*/ 1561959015 w 21600"/>
                <a:gd name="T73" fmla="*/ 2147483647 h 21600"/>
                <a:gd name="T74" fmla="*/ 1548811120 w 21600"/>
                <a:gd name="T75" fmla="*/ 2147483647 h 21600"/>
                <a:gd name="T76" fmla="*/ 1494947143 w 21600"/>
                <a:gd name="T77" fmla="*/ 2147483647 h 21600"/>
                <a:gd name="T78" fmla="*/ 1352334430 w 21600"/>
                <a:gd name="T79" fmla="*/ 2147483647 h 21600"/>
                <a:gd name="T80" fmla="*/ 1221384269 w 21600"/>
                <a:gd name="T81" fmla="*/ 2147483647 h 21600"/>
                <a:gd name="T82" fmla="*/ 1039433185 w 21600"/>
                <a:gd name="T83" fmla="*/ 2147483647 h 21600"/>
                <a:gd name="T84" fmla="*/ 1020559278 w 21600"/>
                <a:gd name="T85" fmla="*/ 2147483647 h 21600"/>
                <a:gd name="T86" fmla="*/ 847302476 w 21600"/>
                <a:gd name="T87" fmla="*/ 2147483647 h 21600"/>
                <a:gd name="T88" fmla="*/ 675636279 w 21600"/>
                <a:gd name="T89" fmla="*/ 2147483647 h 21600"/>
                <a:gd name="T90" fmla="*/ 490716877 w 21600"/>
                <a:gd name="T91" fmla="*/ 2147483647 h 21600"/>
                <a:gd name="T92" fmla="*/ 337924540 w 21600"/>
                <a:gd name="T93" fmla="*/ 2147483647 h 21600"/>
                <a:gd name="T94" fmla="*/ 192977508 w 21600"/>
                <a:gd name="T95" fmla="*/ 2147483647 h 21600"/>
                <a:gd name="T96" fmla="*/ 0 w 21600"/>
                <a:gd name="T97" fmla="*/ 2147483647 h 21600"/>
                <a:gd name="T98" fmla="*/ 0 w 21600"/>
                <a:gd name="T99" fmla="*/ 2147483647 h 216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1600" h="21600">
                  <a:moveTo>
                    <a:pt x="0" y="18622"/>
                  </a:moveTo>
                  <a:lnTo>
                    <a:pt x="2490" y="18740"/>
                  </a:lnTo>
                  <a:lnTo>
                    <a:pt x="2311" y="17263"/>
                  </a:lnTo>
                  <a:lnTo>
                    <a:pt x="1611" y="15012"/>
                  </a:lnTo>
                  <a:lnTo>
                    <a:pt x="3783" y="14825"/>
                  </a:lnTo>
                  <a:lnTo>
                    <a:pt x="4590" y="13732"/>
                  </a:lnTo>
                  <a:lnTo>
                    <a:pt x="5825" y="14888"/>
                  </a:lnTo>
                  <a:lnTo>
                    <a:pt x="7177" y="14361"/>
                  </a:lnTo>
                  <a:lnTo>
                    <a:pt x="8794" y="14912"/>
                  </a:lnTo>
                  <a:lnTo>
                    <a:pt x="8988" y="13694"/>
                  </a:lnTo>
                  <a:lnTo>
                    <a:pt x="9558" y="11062"/>
                  </a:lnTo>
                  <a:lnTo>
                    <a:pt x="8259" y="10150"/>
                  </a:lnTo>
                  <a:lnTo>
                    <a:pt x="8050" y="8115"/>
                  </a:lnTo>
                  <a:lnTo>
                    <a:pt x="9686" y="7332"/>
                  </a:lnTo>
                  <a:lnTo>
                    <a:pt x="9233" y="5646"/>
                  </a:lnTo>
                  <a:lnTo>
                    <a:pt x="7710" y="5757"/>
                  </a:lnTo>
                  <a:lnTo>
                    <a:pt x="6186" y="5511"/>
                  </a:lnTo>
                  <a:lnTo>
                    <a:pt x="5913" y="3120"/>
                  </a:lnTo>
                  <a:lnTo>
                    <a:pt x="9538" y="3188"/>
                  </a:lnTo>
                  <a:lnTo>
                    <a:pt x="10853" y="4277"/>
                  </a:lnTo>
                  <a:lnTo>
                    <a:pt x="12445" y="4597"/>
                  </a:lnTo>
                  <a:lnTo>
                    <a:pt x="14139" y="4885"/>
                  </a:lnTo>
                  <a:lnTo>
                    <a:pt x="14326" y="3576"/>
                  </a:lnTo>
                  <a:lnTo>
                    <a:pt x="15671" y="2087"/>
                  </a:lnTo>
                  <a:lnTo>
                    <a:pt x="15749" y="181"/>
                  </a:lnTo>
                  <a:lnTo>
                    <a:pt x="18904" y="43"/>
                  </a:lnTo>
                  <a:lnTo>
                    <a:pt x="21600" y="0"/>
                  </a:lnTo>
                  <a:lnTo>
                    <a:pt x="20866" y="2309"/>
                  </a:lnTo>
                  <a:lnTo>
                    <a:pt x="19809" y="3933"/>
                  </a:lnTo>
                  <a:lnTo>
                    <a:pt x="19590" y="6259"/>
                  </a:lnTo>
                  <a:lnTo>
                    <a:pt x="19398" y="7969"/>
                  </a:lnTo>
                  <a:lnTo>
                    <a:pt x="18807" y="9618"/>
                  </a:lnTo>
                  <a:lnTo>
                    <a:pt x="18821" y="10984"/>
                  </a:lnTo>
                  <a:lnTo>
                    <a:pt x="17641" y="11800"/>
                  </a:lnTo>
                  <a:lnTo>
                    <a:pt x="16323" y="12871"/>
                  </a:lnTo>
                  <a:lnTo>
                    <a:pt x="14827" y="14655"/>
                  </a:lnTo>
                  <a:lnTo>
                    <a:pt x="14731" y="16648"/>
                  </a:lnTo>
                  <a:lnTo>
                    <a:pt x="14607" y="18260"/>
                  </a:lnTo>
                  <a:lnTo>
                    <a:pt x="14099" y="19442"/>
                  </a:lnTo>
                  <a:lnTo>
                    <a:pt x="12754" y="19577"/>
                  </a:lnTo>
                  <a:lnTo>
                    <a:pt x="11519" y="20598"/>
                  </a:lnTo>
                  <a:lnTo>
                    <a:pt x="9803" y="21398"/>
                  </a:lnTo>
                  <a:lnTo>
                    <a:pt x="9625" y="20118"/>
                  </a:lnTo>
                  <a:lnTo>
                    <a:pt x="7991" y="20545"/>
                  </a:lnTo>
                  <a:lnTo>
                    <a:pt x="6372" y="20726"/>
                  </a:lnTo>
                  <a:lnTo>
                    <a:pt x="4628" y="20517"/>
                  </a:lnTo>
                  <a:lnTo>
                    <a:pt x="3187" y="21600"/>
                  </a:lnTo>
                  <a:lnTo>
                    <a:pt x="1820" y="20296"/>
                  </a:lnTo>
                  <a:lnTo>
                    <a:pt x="0" y="18622"/>
                  </a:lnTo>
                  <a:close/>
                  <a:moveTo>
                    <a:pt x="0" y="18622"/>
                  </a:moveTo>
                </a:path>
              </a:pathLst>
            </a:custGeom>
            <a:solidFill>
              <a:srgbClr val="FF93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A138123D-D321-43F3-95B6-0F3D44885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538" y="2675167"/>
              <a:ext cx="750593" cy="992497"/>
            </a:xfrm>
            <a:custGeom>
              <a:avLst/>
              <a:gdLst>
                <a:gd name="T0" fmla="*/ 375059671 w 21600"/>
                <a:gd name="T1" fmla="*/ 2147483647 h 21600"/>
                <a:gd name="T2" fmla="*/ 104514343 w 21600"/>
                <a:gd name="T3" fmla="*/ 2147483647 h 21600"/>
                <a:gd name="T4" fmla="*/ 76290809 w 21600"/>
                <a:gd name="T5" fmla="*/ 2147483647 h 21600"/>
                <a:gd name="T6" fmla="*/ 76290809 w 21600"/>
                <a:gd name="T7" fmla="*/ 2147483647 h 21600"/>
                <a:gd name="T8" fmla="*/ 85331221 w 21600"/>
                <a:gd name="T9" fmla="*/ 2147483647 h 21600"/>
                <a:gd name="T10" fmla="*/ 0 w 21600"/>
                <a:gd name="T11" fmla="*/ 2147483647 h 21600"/>
                <a:gd name="T12" fmla="*/ 257314959 w 21600"/>
                <a:gd name="T13" fmla="*/ 2147483647 h 21600"/>
                <a:gd name="T14" fmla="*/ 384319080 w 21600"/>
                <a:gd name="T15" fmla="*/ 2147483647 h 21600"/>
                <a:gd name="T16" fmla="*/ 495008860 w 21600"/>
                <a:gd name="T17" fmla="*/ 2147483647 h 21600"/>
                <a:gd name="T18" fmla="*/ 901598721 w 21600"/>
                <a:gd name="T19" fmla="*/ 2147483647 h 21600"/>
                <a:gd name="T20" fmla="*/ 1057045434 w 21600"/>
                <a:gd name="T21" fmla="*/ 2147483647 h 21600"/>
                <a:gd name="T22" fmla="*/ 1286797417 w 21600"/>
                <a:gd name="T23" fmla="*/ 2147483647 h 21600"/>
                <a:gd name="T24" fmla="*/ 1896682268 w 21600"/>
                <a:gd name="T25" fmla="*/ 2147483647 h 21600"/>
                <a:gd name="T26" fmla="*/ 2147483647 w 21600"/>
                <a:gd name="T27" fmla="*/ 2147483647 h 21600"/>
                <a:gd name="T28" fmla="*/ 2147483647 w 21600"/>
                <a:gd name="T29" fmla="*/ 2147483647 h 21600"/>
                <a:gd name="T30" fmla="*/ 2147483647 w 21600"/>
                <a:gd name="T31" fmla="*/ 2147483647 h 21600"/>
                <a:gd name="T32" fmla="*/ 2147483647 w 21600"/>
                <a:gd name="T33" fmla="*/ 2147483647 h 21600"/>
                <a:gd name="T34" fmla="*/ 2114090869 w 21600"/>
                <a:gd name="T35" fmla="*/ 2147483647 h 21600"/>
                <a:gd name="T36" fmla="*/ 1570795736 w 21600"/>
                <a:gd name="T37" fmla="*/ 2147483647 h 21600"/>
                <a:gd name="T38" fmla="*/ 1295618891 w 21600"/>
                <a:gd name="T39" fmla="*/ 2147483647 h 21600"/>
                <a:gd name="T40" fmla="*/ 1034332973 w 21600"/>
                <a:gd name="T41" fmla="*/ 2147483647 h 21600"/>
                <a:gd name="T42" fmla="*/ 805902167 w 21600"/>
                <a:gd name="T43" fmla="*/ 1840442190 h 21600"/>
                <a:gd name="T44" fmla="*/ 842063934 w 21600"/>
                <a:gd name="T45" fmla="*/ 1229769891 h 21600"/>
                <a:gd name="T46" fmla="*/ 1022646463 w 21600"/>
                <a:gd name="T47" fmla="*/ 805357409 h 21600"/>
                <a:gd name="T48" fmla="*/ 1223295356 w 21600"/>
                <a:gd name="T49" fmla="*/ 1270006633 h 21600"/>
                <a:gd name="T50" fmla="*/ 1489212791 w 21600"/>
                <a:gd name="T51" fmla="*/ 1754129571 h 21600"/>
                <a:gd name="T52" fmla="*/ 1794595025 w 21600"/>
                <a:gd name="T53" fmla="*/ 1730120925 h 21600"/>
                <a:gd name="T54" fmla="*/ 2147483647 w 21600"/>
                <a:gd name="T55" fmla="*/ 1284285867 h 21600"/>
                <a:gd name="T56" fmla="*/ 2147483647 w 21600"/>
                <a:gd name="T57" fmla="*/ 1356319252 h 21600"/>
                <a:gd name="T58" fmla="*/ 2147483647 w 21600"/>
                <a:gd name="T59" fmla="*/ 1016263169 h 21600"/>
                <a:gd name="T60" fmla="*/ 2147483647 w 21600"/>
                <a:gd name="T61" fmla="*/ 920221138 h 21600"/>
                <a:gd name="T62" fmla="*/ 2147483647 w 21600"/>
                <a:gd name="T63" fmla="*/ 838450810 h 21600"/>
                <a:gd name="T64" fmla="*/ 2147483647 w 21600"/>
                <a:gd name="T65" fmla="*/ 675562429 h 21600"/>
                <a:gd name="T66" fmla="*/ 2147483647 w 21600"/>
                <a:gd name="T67" fmla="*/ 469843703 h 21600"/>
                <a:gd name="T68" fmla="*/ 2147483647 w 21600"/>
                <a:gd name="T69" fmla="*/ 158346090 h 21600"/>
                <a:gd name="T70" fmla="*/ 2147483647 w 21600"/>
                <a:gd name="T71" fmla="*/ 0 h 21600"/>
                <a:gd name="T72" fmla="*/ 2147483647 w 21600"/>
                <a:gd name="T73" fmla="*/ 335513792 h 21600"/>
                <a:gd name="T74" fmla="*/ 2147483647 w 21600"/>
                <a:gd name="T75" fmla="*/ 1030542403 h 21600"/>
                <a:gd name="T76" fmla="*/ 2147483647 w 21600"/>
                <a:gd name="T77" fmla="*/ 1735307959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2134817790 w 21600"/>
                <a:gd name="T103" fmla="*/ 2147483647 h 21600"/>
                <a:gd name="T104" fmla="*/ 1824581416 w 21600"/>
                <a:gd name="T105" fmla="*/ 2147483647 h 21600"/>
                <a:gd name="T106" fmla="*/ 1568149698 w 21600"/>
                <a:gd name="T107" fmla="*/ 2147483647 h 21600"/>
                <a:gd name="T108" fmla="*/ 1309290880 w 21600"/>
                <a:gd name="T109" fmla="*/ 2147483647 h 21600"/>
                <a:gd name="T110" fmla="*/ 1038745553 w 21600"/>
                <a:gd name="T111" fmla="*/ 2147483647 h 21600"/>
                <a:gd name="T112" fmla="*/ 780324730 w 21600"/>
                <a:gd name="T113" fmla="*/ 2147483647 h 21600"/>
                <a:gd name="T114" fmla="*/ 535579522 w 21600"/>
                <a:gd name="T115" fmla="*/ 2147483647 h 21600"/>
                <a:gd name="T116" fmla="*/ 375059671 w 21600"/>
                <a:gd name="T117" fmla="*/ 2147483647 h 21600"/>
                <a:gd name="T118" fmla="*/ 375059671 w 21600"/>
                <a:gd name="T119" fmla="*/ 2147483647 h 2160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1600" h="21600">
                  <a:moveTo>
                    <a:pt x="1701" y="21600"/>
                  </a:moveTo>
                  <a:lnTo>
                    <a:pt x="474" y="20662"/>
                  </a:lnTo>
                  <a:lnTo>
                    <a:pt x="346" y="19592"/>
                  </a:lnTo>
                  <a:lnTo>
                    <a:pt x="346" y="17819"/>
                  </a:lnTo>
                  <a:lnTo>
                    <a:pt x="387" y="15988"/>
                  </a:lnTo>
                  <a:lnTo>
                    <a:pt x="0" y="14688"/>
                  </a:lnTo>
                  <a:lnTo>
                    <a:pt x="1167" y="14108"/>
                  </a:lnTo>
                  <a:lnTo>
                    <a:pt x="1743" y="13271"/>
                  </a:lnTo>
                  <a:lnTo>
                    <a:pt x="2245" y="12467"/>
                  </a:lnTo>
                  <a:lnTo>
                    <a:pt x="4089" y="12364"/>
                  </a:lnTo>
                  <a:lnTo>
                    <a:pt x="4794" y="11870"/>
                  </a:lnTo>
                  <a:lnTo>
                    <a:pt x="5836" y="11375"/>
                  </a:lnTo>
                  <a:lnTo>
                    <a:pt x="8602" y="11155"/>
                  </a:lnTo>
                  <a:lnTo>
                    <a:pt x="11481" y="9308"/>
                  </a:lnTo>
                  <a:lnTo>
                    <a:pt x="13183" y="7846"/>
                  </a:lnTo>
                  <a:lnTo>
                    <a:pt x="14791" y="6583"/>
                  </a:lnTo>
                  <a:lnTo>
                    <a:pt x="12221" y="6219"/>
                  </a:lnTo>
                  <a:lnTo>
                    <a:pt x="9588" y="5768"/>
                  </a:lnTo>
                  <a:lnTo>
                    <a:pt x="7124" y="5185"/>
                  </a:lnTo>
                  <a:lnTo>
                    <a:pt x="5876" y="4424"/>
                  </a:lnTo>
                  <a:lnTo>
                    <a:pt x="4691" y="3715"/>
                  </a:lnTo>
                  <a:lnTo>
                    <a:pt x="3655" y="2836"/>
                  </a:lnTo>
                  <a:lnTo>
                    <a:pt x="3819" y="1895"/>
                  </a:lnTo>
                  <a:lnTo>
                    <a:pt x="4638" y="1241"/>
                  </a:lnTo>
                  <a:lnTo>
                    <a:pt x="5548" y="1957"/>
                  </a:lnTo>
                  <a:lnTo>
                    <a:pt x="6754" y="2703"/>
                  </a:lnTo>
                  <a:lnTo>
                    <a:pt x="8139" y="2666"/>
                  </a:lnTo>
                  <a:lnTo>
                    <a:pt x="9831" y="1979"/>
                  </a:lnTo>
                  <a:lnTo>
                    <a:pt x="11185" y="2090"/>
                  </a:lnTo>
                  <a:lnTo>
                    <a:pt x="12739" y="1566"/>
                  </a:lnTo>
                  <a:lnTo>
                    <a:pt x="13892" y="1418"/>
                  </a:lnTo>
                  <a:lnTo>
                    <a:pt x="15457" y="1292"/>
                  </a:lnTo>
                  <a:lnTo>
                    <a:pt x="16599" y="1041"/>
                  </a:lnTo>
                  <a:lnTo>
                    <a:pt x="18132" y="724"/>
                  </a:lnTo>
                  <a:lnTo>
                    <a:pt x="19444" y="244"/>
                  </a:lnTo>
                  <a:lnTo>
                    <a:pt x="20712" y="0"/>
                  </a:lnTo>
                  <a:lnTo>
                    <a:pt x="21600" y="517"/>
                  </a:lnTo>
                  <a:lnTo>
                    <a:pt x="21399" y="1588"/>
                  </a:lnTo>
                  <a:lnTo>
                    <a:pt x="21357" y="2674"/>
                  </a:lnTo>
                  <a:lnTo>
                    <a:pt x="20997" y="3818"/>
                  </a:lnTo>
                  <a:lnTo>
                    <a:pt x="20257" y="4807"/>
                  </a:lnTo>
                  <a:lnTo>
                    <a:pt x="19496" y="6181"/>
                  </a:lnTo>
                  <a:lnTo>
                    <a:pt x="18607" y="7207"/>
                  </a:lnTo>
                  <a:lnTo>
                    <a:pt x="17941" y="8463"/>
                  </a:lnTo>
                  <a:lnTo>
                    <a:pt x="17402" y="9693"/>
                  </a:lnTo>
                  <a:lnTo>
                    <a:pt x="16566" y="10528"/>
                  </a:lnTo>
                  <a:lnTo>
                    <a:pt x="15509" y="11665"/>
                  </a:lnTo>
                  <a:lnTo>
                    <a:pt x="14652" y="12652"/>
                  </a:lnTo>
                  <a:lnTo>
                    <a:pt x="13541" y="13583"/>
                  </a:lnTo>
                  <a:lnTo>
                    <a:pt x="12198" y="14646"/>
                  </a:lnTo>
                  <a:lnTo>
                    <a:pt x="11014" y="15429"/>
                  </a:lnTo>
                  <a:lnTo>
                    <a:pt x="9682" y="15961"/>
                  </a:lnTo>
                  <a:lnTo>
                    <a:pt x="8275" y="16541"/>
                  </a:lnTo>
                  <a:lnTo>
                    <a:pt x="7112" y="17235"/>
                  </a:lnTo>
                  <a:lnTo>
                    <a:pt x="5938" y="17989"/>
                  </a:lnTo>
                  <a:lnTo>
                    <a:pt x="4711" y="18941"/>
                  </a:lnTo>
                  <a:lnTo>
                    <a:pt x="3539" y="19769"/>
                  </a:lnTo>
                  <a:lnTo>
                    <a:pt x="2429" y="20567"/>
                  </a:lnTo>
                  <a:lnTo>
                    <a:pt x="1701" y="21600"/>
                  </a:lnTo>
                  <a:close/>
                  <a:moveTo>
                    <a:pt x="1701" y="21600"/>
                  </a:moveTo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0EA7361A-0042-10A1-960B-FAB1C8C13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906" y="4816872"/>
              <a:ext cx="665672" cy="625156"/>
            </a:xfrm>
            <a:custGeom>
              <a:avLst/>
              <a:gdLst>
                <a:gd name="T0" fmla="*/ 0 w 21600"/>
                <a:gd name="T1" fmla="*/ 2147483647 h 21600"/>
                <a:gd name="T2" fmla="*/ 25069087 w 21600"/>
                <a:gd name="T3" fmla="*/ 1576692586 h 21600"/>
                <a:gd name="T4" fmla="*/ 346824609 w 21600"/>
                <a:gd name="T5" fmla="*/ 1548960850 h 21600"/>
                <a:gd name="T6" fmla="*/ 354359940 w 21600"/>
                <a:gd name="T7" fmla="*/ 1138650526 h 21600"/>
                <a:gd name="T8" fmla="*/ 361588162 w 21600"/>
                <a:gd name="T9" fmla="*/ 812186650 h 21600"/>
                <a:gd name="T10" fmla="*/ 368816383 w 21600"/>
                <a:gd name="T11" fmla="*/ 425230434 h 21600"/>
                <a:gd name="T12" fmla="*/ 359128016 w 21600"/>
                <a:gd name="T13" fmla="*/ 118391333 h 21600"/>
                <a:gd name="T14" fmla="*/ 785158579 w 21600"/>
                <a:gd name="T15" fmla="*/ 114498509 h 21600"/>
                <a:gd name="T16" fmla="*/ 1254871261 w 21600"/>
                <a:gd name="T17" fmla="*/ 27246987 h 21600"/>
                <a:gd name="T18" fmla="*/ 1395445145 w 21600"/>
                <a:gd name="T19" fmla="*/ 163799960 h 21600"/>
                <a:gd name="T20" fmla="*/ 1575392397 w 21600"/>
                <a:gd name="T21" fmla="*/ 0 h 21600"/>
                <a:gd name="T22" fmla="*/ 1952978498 w 21600"/>
                <a:gd name="T23" fmla="*/ 0 h 21600"/>
                <a:gd name="T24" fmla="*/ 2147483647 w 21600"/>
                <a:gd name="T25" fmla="*/ 304894162 h 21600"/>
                <a:gd name="T26" fmla="*/ 2147483647 w 21600"/>
                <a:gd name="T27" fmla="*/ 514266295 h 21600"/>
                <a:gd name="T28" fmla="*/ 2147483647 w 21600"/>
                <a:gd name="T29" fmla="*/ 746504843 h 21600"/>
                <a:gd name="T30" fmla="*/ 2147483647 w 21600"/>
                <a:gd name="T31" fmla="*/ 845595547 h 21600"/>
                <a:gd name="T32" fmla="*/ 2147483647 w 21600"/>
                <a:gd name="T33" fmla="*/ 1031125879 h 21600"/>
                <a:gd name="T34" fmla="*/ 2147483647 w 21600"/>
                <a:gd name="T35" fmla="*/ 1336022985 h 21600"/>
                <a:gd name="T36" fmla="*/ 2147483647 w 21600"/>
                <a:gd name="T37" fmla="*/ 1424407551 h 21600"/>
                <a:gd name="T38" fmla="*/ 2147483647 w 21600"/>
                <a:gd name="T39" fmla="*/ 1483927393 h 21600"/>
                <a:gd name="T40" fmla="*/ 2147483647 w 21600"/>
                <a:gd name="T41" fmla="*/ 1723951643 h 21600"/>
                <a:gd name="T42" fmla="*/ 2147483647 w 21600"/>
                <a:gd name="T43" fmla="*/ 1836014519 h 21600"/>
                <a:gd name="T44" fmla="*/ 2147483647 w 21600"/>
                <a:gd name="T45" fmla="*/ 1917428278 h 21600"/>
                <a:gd name="T46" fmla="*/ 2147483647 w 21600"/>
                <a:gd name="T47" fmla="*/ 2105554844 h 21600"/>
                <a:gd name="T48" fmla="*/ 2147483647 w 21600"/>
                <a:gd name="T49" fmla="*/ 2147483647 h 21600"/>
                <a:gd name="T50" fmla="*/ 2147483647 w 21600"/>
                <a:gd name="T51" fmla="*/ 2147483647 h 21600"/>
                <a:gd name="T52" fmla="*/ 2122620217 w 21600"/>
                <a:gd name="T53" fmla="*/ 2147483647 h 21600"/>
                <a:gd name="T54" fmla="*/ 2038339023 w 21600"/>
                <a:gd name="T55" fmla="*/ 2147483647 h 21600"/>
                <a:gd name="T56" fmla="*/ 1638761201 w 21600"/>
                <a:gd name="T57" fmla="*/ 2147483647 h 21600"/>
                <a:gd name="T58" fmla="*/ 1292091594 w 21600"/>
                <a:gd name="T59" fmla="*/ 2147483647 h 21600"/>
                <a:gd name="T60" fmla="*/ 1103222516 w 21600"/>
                <a:gd name="T61" fmla="*/ 2147483647 h 21600"/>
                <a:gd name="T62" fmla="*/ 989408430 w 21600"/>
                <a:gd name="T63" fmla="*/ 2147483647 h 21600"/>
                <a:gd name="T64" fmla="*/ 864674590 w 21600"/>
                <a:gd name="T65" fmla="*/ 2147483647 h 21600"/>
                <a:gd name="T66" fmla="*/ 695954308 w 21600"/>
                <a:gd name="T67" fmla="*/ 2147483647 h 21600"/>
                <a:gd name="T68" fmla="*/ 338364894 w 21600"/>
                <a:gd name="T69" fmla="*/ 2147483647 h 21600"/>
                <a:gd name="T70" fmla="*/ 286995282 w 21600"/>
                <a:gd name="T71" fmla="*/ 2147483647 h 21600"/>
                <a:gd name="T72" fmla="*/ 276075475 w 21600"/>
                <a:gd name="T73" fmla="*/ 2147483647 h 21600"/>
                <a:gd name="T74" fmla="*/ 162261389 w 21600"/>
                <a:gd name="T75" fmla="*/ 2147483647 h 21600"/>
                <a:gd name="T76" fmla="*/ 0 w 21600"/>
                <a:gd name="T77" fmla="*/ 2147483647 h 21600"/>
                <a:gd name="T78" fmla="*/ 0 w 21600"/>
                <a:gd name="T79" fmla="*/ 2147483647 h 216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1600" h="21600">
                  <a:moveTo>
                    <a:pt x="0" y="16495"/>
                  </a:moveTo>
                  <a:lnTo>
                    <a:pt x="163" y="9722"/>
                  </a:lnTo>
                  <a:lnTo>
                    <a:pt x="2255" y="9551"/>
                  </a:lnTo>
                  <a:lnTo>
                    <a:pt x="2304" y="7021"/>
                  </a:lnTo>
                  <a:lnTo>
                    <a:pt x="2351" y="5008"/>
                  </a:lnTo>
                  <a:lnTo>
                    <a:pt x="2398" y="2622"/>
                  </a:lnTo>
                  <a:lnTo>
                    <a:pt x="2335" y="730"/>
                  </a:lnTo>
                  <a:lnTo>
                    <a:pt x="5105" y="706"/>
                  </a:lnTo>
                  <a:lnTo>
                    <a:pt x="8159" y="168"/>
                  </a:lnTo>
                  <a:lnTo>
                    <a:pt x="9073" y="1010"/>
                  </a:lnTo>
                  <a:lnTo>
                    <a:pt x="10243" y="0"/>
                  </a:lnTo>
                  <a:lnTo>
                    <a:pt x="12698" y="0"/>
                  </a:lnTo>
                  <a:lnTo>
                    <a:pt x="13983" y="1880"/>
                  </a:lnTo>
                  <a:lnTo>
                    <a:pt x="14868" y="3171"/>
                  </a:lnTo>
                  <a:lnTo>
                    <a:pt x="16152" y="4603"/>
                  </a:lnTo>
                  <a:lnTo>
                    <a:pt x="17363" y="5214"/>
                  </a:lnTo>
                  <a:lnTo>
                    <a:pt x="18737" y="6358"/>
                  </a:lnTo>
                  <a:lnTo>
                    <a:pt x="18631" y="8238"/>
                  </a:lnTo>
                  <a:lnTo>
                    <a:pt x="19900" y="8783"/>
                  </a:lnTo>
                  <a:lnTo>
                    <a:pt x="21460" y="9150"/>
                  </a:lnTo>
                  <a:lnTo>
                    <a:pt x="21600" y="10630"/>
                  </a:lnTo>
                  <a:lnTo>
                    <a:pt x="20419" y="11321"/>
                  </a:lnTo>
                  <a:lnTo>
                    <a:pt x="19299" y="11823"/>
                  </a:lnTo>
                  <a:lnTo>
                    <a:pt x="18213" y="12983"/>
                  </a:lnTo>
                  <a:lnTo>
                    <a:pt x="16687" y="13616"/>
                  </a:lnTo>
                  <a:lnTo>
                    <a:pt x="15943" y="15420"/>
                  </a:lnTo>
                  <a:lnTo>
                    <a:pt x="13801" y="16969"/>
                  </a:lnTo>
                  <a:lnTo>
                    <a:pt x="13253" y="18693"/>
                  </a:lnTo>
                  <a:lnTo>
                    <a:pt x="10655" y="18904"/>
                  </a:lnTo>
                  <a:lnTo>
                    <a:pt x="8401" y="17907"/>
                  </a:lnTo>
                  <a:lnTo>
                    <a:pt x="7173" y="17872"/>
                  </a:lnTo>
                  <a:lnTo>
                    <a:pt x="6433" y="18939"/>
                  </a:lnTo>
                  <a:lnTo>
                    <a:pt x="5622" y="20029"/>
                  </a:lnTo>
                  <a:lnTo>
                    <a:pt x="4525" y="21518"/>
                  </a:lnTo>
                  <a:lnTo>
                    <a:pt x="2200" y="21600"/>
                  </a:lnTo>
                  <a:lnTo>
                    <a:pt x="1866" y="20193"/>
                  </a:lnTo>
                  <a:lnTo>
                    <a:pt x="1795" y="18517"/>
                  </a:lnTo>
                  <a:lnTo>
                    <a:pt x="1055" y="17485"/>
                  </a:lnTo>
                  <a:lnTo>
                    <a:pt x="0" y="16495"/>
                  </a:lnTo>
                  <a:close/>
                  <a:moveTo>
                    <a:pt x="0" y="16495"/>
                  </a:moveTo>
                </a:path>
              </a:pathLst>
            </a:custGeom>
            <a:solidFill>
              <a:srgbClr val="FF93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3F5BCB89-DA13-0AD0-FE6A-067B1E20A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678" y="2470433"/>
              <a:ext cx="583490" cy="403571"/>
            </a:xfrm>
            <a:custGeom>
              <a:avLst/>
              <a:gdLst>
                <a:gd name="T0" fmla="*/ 0 w 21600"/>
                <a:gd name="T1" fmla="*/ 781020820 h 21600"/>
                <a:gd name="T2" fmla="*/ 23824593 w 21600"/>
                <a:gd name="T3" fmla="*/ 686387335 h 21600"/>
                <a:gd name="T4" fmla="*/ 63081586 w 21600"/>
                <a:gd name="T5" fmla="*/ 523909857 h 21600"/>
                <a:gd name="T6" fmla="*/ 221353434 w 21600"/>
                <a:gd name="T7" fmla="*/ 498691778 h 21600"/>
                <a:gd name="T8" fmla="*/ 342750325 w 21600"/>
                <a:gd name="T9" fmla="*/ 424956000 h 21600"/>
                <a:gd name="T10" fmla="*/ 363881889 w 21600"/>
                <a:gd name="T11" fmla="*/ 291797614 h 21600"/>
                <a:gd name="T12" fmla="*/ 503199073 w 21600"/>
                <a:gd name="T13" fmla="*/ 244240427 h 21600"/>
                <a:gd name="T14" fmla="*/ 663749261 w 21600"/>
                <a:gd name="T15" fmla="*/ 268019637 h 21600"/>
                <a:gd name="T16" fmla="*/ 796954801 w 21600"/>
                <a:gd name="T17" fmla="*/ 205279310 h 21600"/>
                <a:gd name="T18" fmla="*/ 862211079 w 21600"/>
                <a:gd name="T19" fmla="*/ 122949960 h 21600"/>
                <a:gd name="T20" fmla="*/ 1010021897 w 21600"/>
                <a:gd name="T21" fmla="*/ 106326685 h 21600"/>
                <a:gd name="T22" fmla="*/ 1149131737 w 21600"/>
                <a:gd name="T23" fmla="*/ 29407068 h 21600"/>
                <a:gd name="T24" fmla="*/ 1339410819 w 21600"/>
                <a:gd name="T25" fmla="*/ 1701598 h 21600"/>
                <a:gd name="T26" fmla="*/ 1512184344 w 21600"/>
                <a:gd name="T27" fmla="*/ 0 h 21600"/>
                <a:gd name="T28" fmla="*/ 1737682026 w 21600"/>
                <a:gd name="T29" fmla="*/ 15489276 h 21600"/>
                <a:gd name="T30" fmla="*/ 1720487367 w 21600"/>
                <a:gd name="T31" fmla="*/ 143193325 h 21600"/>
                <a:gd name="T32" fmla="*/ 1839605917 w 21600"/>
                <a:gd name="T33" fmla="*/ 230410645 h 21600"/>
                <a:gd name="T34" fmla="*/ 1957171713 w 21600"/>
                <a:gd name="T35" fmla="*/ 288787263 h 21600"/>
                <a:gd name="T36" fmla="*/ 1989798772 w 21600"/>
                <a:gd name="T37" fmla="*/ 363132779 h 21600"/>
                <a:gd name="T38" fmla="*/ 2147483647 w 21600"/>
                <a:gd name="T39" fmla="*/ 408289353 h 21600"/>
                <a:gd name="T40" fmla="*/ 2147483647 w 21600"/>
                <a:gd name="T41" fmla="*/ 494634171 h 21600"/>
                <a:gd name="T42" fmla="*/ 2147483647 w 21600"/>
                <a:gd name="T43" fmla="*/ 610558311 h 21600"/>
                <a:gd name="T44" fmla="*/ 1995081088 w 21600"/>
                <a:gd name="T45" fmla="*/ 626352456 h 21600"/>
                <a:gd name="T46" fmla="*/ 1856385889 w 21600"/>
                <a:gd name="T47" fmla="*/ 683115451 h 21600"/>
                <a:gd name="T48" fmla="*/ 1581792168 w 21600"/>
                <a:gd name="T49" fmla="*/ 674477277 h 21600"/>
                <a:gd name="T50" fmla="*/ 1314344511 w 21600"/>
                <a:gd name="T51" fmla="*/ 675261768 h 21600"/>
                <a:gd name="T52" fmla="*/ 1059431088 w 21600"/>
                <a:gd name="T53" fmla="*/ 675261768 h 21600"/>
                <a:gd name="T54" fmla="*/ 780693119 w 21600"/>
                <a:gd name="T55" fmla="*/ 676833251 h 21600"/>
                <a:gd name="T56" fmla="*/ 727452785 w 21600"/>
                <a:gd name="T57" fmla="*/ 769677163 h 21600"/>
                <a:gd name="T58" fmla="*/ 756868526 w 21600"/>
                <a:gd name="T59" fmla="*/ 942408902 h 21600"/>
                <a:gd name="T60" fmla="*/ 590102997 w 21600"/>
                <a:gd name="T61" fmla="*/ 871423245 h 21600"/>
                <a:gd name="T62" fmla="*/ 352487929 w 21600"/>
                <a:gd name="T63" fmla="*/ 895855600 h 21600"/>
                <a:gd name="T64" fmla="*/ 155060529 w 21600"/>
                <a:gd name="T65" fmla="*/ 847775383 h 21600"/>
                <a:gd name="T66" fmla="*/ 0 w 21600"/>
                <a:gd name="T67" fmla="*/ 781020820 h 21600"/>
                <a:gd name="T68" fmla="*/ 0 w 21600"/>
                <a:gd name="T69" fmla="*/ 781020820 h 216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1600" h="21600">
                  <a:moveTo>
                    <a:pt x="0" y="17901"/>
                  </a:moveTo>
                  <a:lnTo>
                    <a:pt x="230" y="15732"/>
                  </a:lnTo>
                  <a:lnTo>
                    <a:pt x="609" y="12008"/>
                  </a:lnTo>
                  <a:lnTo>
                    <a:pt x="2137" y="11430"/>
                  </a:lnTo>
                  <a:lnTo>
                    <a:pt x="3309" y="9740"/>
                  </a:lnTo>
                  <a:lnTo>
                    <a:pt x="3513" y="6688"/>
                  </a:lnTo>
                  <a:lnTo>
                    <a:pt x="4858" y="5598"/>
                  </a:lnTo>
                  <a:lnTo>
                    <a:pt x="6408" y="6143"/>
                  </a:lnTo>
                  <a:lnTo>
                    <a:pt x="7694" y="4705"/>
                  </a:lnTo>
                  <a:lnTo>
                    <a:pt x="8324" y="2818"/>
                  </a:lnTo>
                  <a:lnTo>
                    <a:pt x="9751" y="2437"/>
                  </a:lnTo>
                  <a:lnTo>
                    <a:pt x="11094" y="674"/>
                  </a:lnTo>
                  <a:lnTo>
                    <a:pt x="12931" y="39"/>
                  </a:lnTo>
                  <a:lnTo>
                    <a:pt x="14599" y="0"/>
                  </a:lnTo>
                  <a:lnTo>
                    <a:pt x="16776" y="355"/>
                  </a:lnTo>
                  <a:lnTo>
                    <a:pt x="16610" y="3282"/>
                  </a:lnTo>
                  <a:lnTo>
                    <a:pt x="17760" y="5281"/>
                  </a:lnTo>
                  <a:lnTo>
                    <a:pt x="18895" y="6619"/>
                  </a:lnTo>
                  <a:lnTo>
                    <a:pt x="19210" y="8323"/>
                  </a:lnTo>
                  <a:lnTo>
                    <a:pt x="20800" y="9358"/>
                  </a:lnTo>
                  <a:lnTo>
                    <a:pt x="21600" y="11337"/>
                  </a:lnTo>
                  <a:lnTo>
                    <a:pt x="21316" y="13994"/>
                  </a:lnTo>
                  <a:lnTo>
                    <a:pt x="19261" y="14356"/>
                  </a:lnTo>
                  <a:lnTo>
                    <a:pt x="17922" y="15657"/>
                  </a:lnTo>
                  <a:lnTo>
                    <a:pt x="15271" y="15459"/>
                  </a:lnTo>
                  <a:lnTo>
                    <a:pt x="12689" y="15477"/>
                  </a:lnTo>
                  <a:lnTo>
                    <a:pt x="10228" y="15477"/>
                  </a:lnTo>
                  <a:lnTo>
                    <a:pt x="7537" y="15513"/>
                  </a:lnTo>
                  <a:lnTo>
                    <a:pt x="7023" y="17641"/>
                  </a:lnTo>
                  <a:lnTo>
                    <a:pt x="7307" y="21600"/>
                  </a:lnTo>
                  <a:lnTo>
                    <a:pt x="5697" y="19973"/>
                  </a:lnTo>
                  <a:lnTo>
                    <a:pt x="3403" y="20533"/>
                  </a:lnTo>
                  <a:lnTo>
                    <a:pt x="1497" y="19431"/>
                  </a:lnTo>
                  <a:lnTo>
                    <a:pt x="0" y="17901"/>
                  </a:lnTo>
                  <a:close/>
                  <a:moveTo>
                    <a:pt x="0" y="17901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B3A3ED50-6817-7432-8842-C6937238E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673" y="3259038"/>
              <a:ext cx="409083" cy="393460"/>
            </a:xfrm>
            <a:custGeom>
              <a:avLst/>
              <a:gdLst>
                <a:gd name="T0" fmla="*/ 0 w 21600"/>
                <a:gd name="T1" fmla="*/ 873340224 h 21600"/>
                <a:gd name="T2" fmla="*/ 749131 w 21600"/>
                <a:gd name="T3" fmla="*/ 775089715 h 21600"/>
                <a:gd name="T4" fmla="*/ 17169158 w 21600"/>
                <a:gd name="T5" fmla="*/ 646757241 h 21600"/>
                <a:gd name="T6" fmla="*/ 47010550 w 21600"/>
                <a:gd name="T7" fmla="*/ 535527303 h 21600"/>
                <a:gd name="T8" fmla="*/ 132109351 w 21600"/>
                <a:gd name="T9" fmla="*/ 442937195 h 21600"/>
                <a:gd name="T10" fmla="*/ 192541266 w 21600"/>
                <a:gd name="T11" fmla="*/ 371452497 h 21600"/>
                <a:gd name="T12" fmla="*/ 227630887 w 21600"/>
                <a:gd name="T13" fmla="*/ 295924836 h 21600"/>
                <a:gd name="T14" fmla="*/ 164163431 w 21600"/>
                <a:gd name="T15" fmla="*/ 261839963 h 21600"/>
                <a:gd name="T16" fmla="*/ 163163899 w 21600"/>
                <a:gd name="T17" fmla="*/ 87091123 h 21600"/>
                <a:gd name="T18" fmla="*/ 254223181 w 21600"/>
                <a:gd name="T19" fmla="*/ 46456454 h 21600"/>
                <a:gd name="T20" fmla="*/ 383334956 w 21600"/>
                <a:gd name="T21" fmla="*/ 57009159 h 21600"/>
                <a:gd name="T22" fmla="*/ 516729011 w 21600"/>
                <a:gd name="T23" fmla="*/ 47224519 h 21600"/>
                <a:gd name="T24" fmla="*/ 622530119 w 21600"/>
                <a:gd name="T25" fmla="*/ 0 h 21600"/>
                <a:gd name="T26" fmla="*/ 710162504 w 21600"/>
                <a:gd name="T27" fmla="*/ 94328876 h 21600"/>
                <a:gd name="T28" fmla="*/ 701988248 w 21600"/>
                <a:gd name="T29" fmla="*/ 192660660 h 21600"/>
                <a:gd name="T30" fmla="*/ 766919260 w 21600"/>
                <a:gd name="T31" fmla="*/ 267379035 h 21600"/>
                <a:gd name="T32" fmla="*/ 771023740 w 21600"/>
                <a:gd name="T33" fmla="*/ 407801510 h 21600"/>
                <a:gd name="T34" fmla="*/ 702738465 w 21600"/>
                <a:gd name="T35" fmla="*/ 515351342 h 21600"/>
                <a:gd name="T36" fmla="*/ 625849678 w 21600"/>
                <a:gd name="T37" fmla="*/ 656621989 h 21600"/>
                <a:gd name="T38" fmla="*/ 495275400 w 21600"/>
                <a:gd name="T39" fmla="*/ 837719222 h 21600"/>
                <a:gd name="T40" fmla="*/ 327364175 w 21600"/>
                <a:gd name="T41" fmla="*/ 822314234 h 21600"/>
                <a:gd name="T42" fmla="*/ 149742534 w 21600"/>
                <a:gd name="T43" fmla="*/ 823931639 h 21600"/>
                <a:gd name="T44" fmla="*/ 71391244 w 21600"/>
                <a:gd name="T45" fmla="*/ 853932328 h 21600"/>
                <a:gd name="T46" fmla="*/ 0 w 21600"/>
                <a:gd name="T47" fmla="*/ 873340224 h 21600"/>
                <a:gd name="T48" fmla="*/ 0 w 21600"/>
                <a:gd name="T49" fmla="*/ 873340224 h 216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" y="19170"/>
                  </a:lnTo>
                  <a:lnTo>
                    <a:pt x="481" y="15996"/>
                  </a:lnTo>
                  <a:lnTo>
                    <a:pt x="1317" y="13245"/>
                  </a:lnTo>
                  <a:lnTo>
                    <a:pt x="3701" y="10955"/>
                  </a:lnTo>
                  <a:lnTo>
                    <a:pt x="5394" y="9187"/>
                  </a:lnTo>
                  <a:lnTo>
                    <a:pt x="6377" y="7319"/>
                  </a:lnTo>
                  <a:lnTo>
                    <a:pt x="4599" y="6476"/>
                  </a:lnTo>
                  <a:lnTo>
                    <a:pt x="4571" y="2154"/>
                  </a:lnTo>
                  <a:lnTo>
                    <a:pt x="7122" y="1149"/>
                  </a:lnTo>
                  <a:lnTo>
                    <a:pt x="10739" y="1410"/>
                  </a:lnTo>
                  <a:lnTo>
                    <a:pt x="14476" y="1168"/>
                  </a:lnTo>
                  <a:lnTo>
                    <a:pt x="17440" y="0"/>
                  </a:lnTo>
                  <a:lnTo>
                    <a:pt x="19895" y="2333"/>
                  </a:lnTo>
                  <a:lnTo>
                    <a:pt x="19666" y="4765"/>
                  </a:lnTo>
                  <a:lnTo>
                    <a:pt x="21485" y="6613"/>
                  </a:lnTo>
                  <a:lnTo>
                    <a:pt x="21600" y="10086"/>
                  </a:lnTo>
                  <a:lnTo>
                    <a:pt x="19687" y="12746"/>
                  </a:lnTo>
                  <a:lnTo>
                    <a:pt x="17533" y="16240"/>
                  </a:lnTo>
                  <a:lnTo>
                    <a:pt x="13875" y="20719"/>
                  </a:lnTo>
                  <a:lnTo>
                    <a:pt x="9171" y="20338"/>
                  </a:lnTo>
                  <a:lnTo>
                    <a:pt x="4195" y="20378"/>
                  </a:lnTo>
                  <a:lnTo>
                    <a:pt x="2000" y="2112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ADB69DC1-42F5-5F2D-EF87-3AB22D761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388" y="4221205"/>
              <a:ext cx="241067" cy="557754"/>
            </a:xfrm>
            <a:custGeom>
              <a:avLst/>
              <a:gdLst>
                <a:gd name="T0" fmla="*/ 157777646 w 21600"/>
                <a:gd name="T1" fmla="*/ 1696050589 h 21600"/>
                <a:gd name="T2" fmla="*/ 138968573 w 21600"/>
                <a:gd name="T3" fmla="*/ 1515802112 h 21600"/>
                <a:gd name="T4" fmla="*/ 102803949 w 21600"/>
                <a:gd name="T5" fmla="*/ 1253896859 h 21600"/>
                <a:gd name="T6" fmla="*/ 95813303 w 21600"/>
                <a:gd name="T7" fmla="*/ 1019174269 h 21600"/>
                <a:gd name="T8" fmla="*/ 99962354 w 21600"/>
                <a:gd name="T9" fmla="*/ 807598156 h 21600"/>
                <a:gd name="T10" fmla="*/ 118720242 w 21600"/>
                <a:gd name="T11" fmla="*/ 749665526 h 21600"/>
                <a:gd name="T12" fmla="*/ 96295559 w 21600"/>
                <a:gd name="T13" fmla="*/ 592109098 h 21600"/>
                <a:gd name="T14" fmla="*/ 94995243 w 21600"/>
                <a:gd name="T15" fmla="*/ 300372318 h 21600"/>
                <a:gd name="T16" fmla="*/ 79078563 w 21600"/>
                <a:gd name="T17" fmla="*/ 64151284 h 21600"/>
                <a:gd name="T18" fmla="*/ 34484829 w 21600"/>
                <a:gd name="T19" fmla="*/ 0 h 21600"/>
                <a:gd name="T20" fmla="*/ 41409195 w 21600"/>
                <a:gd name="T21" fmla="*/ 253612919 h 21600"/>
                <a:gd name="T22" fmla="*/ 54491828 w 21600"/>
                <a:gd name="T23" fmla="*/ 454820635 h 21600"/>
                <a:gd name="T24" fmla="*/ 38816091 w 21600"/>
                <a:gd name="T25" fmla="*/ 656260334 h 21600"/>
                <a:gd name="T26" fmla="*/ 38816091 w 21600"/>
                <a:gd name="T27" fmla="*/ 842381876 h 21600"/>
                <a:gd name="T28" fmla="*/ 47011786 w 21600"/>
                <a:gd name="T29" fmla="*/ 995331749 h 21600"/>
                <a:gd name="T30" fmla="*/ 23630139 w 21600"/>
                <a:gd name="T31" fmla="*/ 1068007348 h 21600"/>
                <a:gd name="T32" fmla="*/ 21701871 w 21600"/>
                <a:gd name="T33" fmla="*/ 1263341999 h 21600"/>
                <a:gd name="T34" fmla="*/ 0 w 21600"/>
                <a:gd name="T35" fmla="*/ 1354214316 h 21600"/>
                <a:gd name="T36" fmla="*/ 25076519 w 21600"/>
                <a:gd name="T37" fmla="*/ 1468467477 h 21600"/>
                <a:gd name="T38" fmla="*/ 47734986 w 21600"/>
                <a:gd name="T39" fmla="*/ 1600226128 h 21600"/>
                <a:gd name="T40" fmla="*/ 85346009 w 21600"/>
                <a:gd name="T41" fmla="*/ 1592738628 h 21600"/>
                <a:gd name="T42" fmla="*/ 92584720 w 21600"/>
                <a:gd name="T43" fmla="*/ 1807654883 h 21600"/>
                <a:gd name="T44" fmla="*/ 77391239 w 21600"/>
                <a:gd name="T45" fmla="*/ 2015197244 h 21600"/>
                <a:gd name="T46" fmla="*/ 84381866 w 21600"/>
                <a:gd name="T47" fmla="*/ 2147483647 h 21600"/>
                <a:gd name="T48" fmla="*/ 103431882 w 21600"/>
                <a:gd name="T49" fmla="*/ 2147483647 h 21600"/>
                <a:gd name="T50" fmla="*/ 110663452 w 21600"/>
                <a:gd name="T51" fmla="*/ 2147483647 h 21600"/>
                <a:gd name="T52" fmla="*/ 131642123 w 21600"/>
                <a:gd name="T53" fmla="*/ 2147483647 h 21600"/>
                <a:gd name="T54" fmla="*/ 130195743 w 21600"/>
                <a:gd name="T55" fmla="*/ 2147483647 h 21600"/>
                <a:gd name="T56" fmla="*/ 153336466 w 21600"/>
                <a:gd name="T57" fmla="*/ 2098582061 h 21600"/>
                <a:gd name="T58" fmla="*/ 157777646 w 21600"/>
                <a:gd name="T59" fmla="*/ 1696050589 h 21600"/>
                <a:gd name="T60" fmla="*/ 157777646 w 21600"/>
                <a:gd name="T61" fmla="*/ 1696050589 h 216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1600" h="21600">
                  <a:moveTo>
                    <a:pt x="21600" y="14726"/>
                  </a:moveTo>
                  <a:lnTo>
                    <a:pt x="19025" y="13161"/>
                  </a:lnTo>
                  <a:lnTo>
                    <a:pt x="14074" y="10887"/>
                  </a:lnTo>
                  <a:lnTo>
                    <a:pt x="13117" y="8849"/>
                  </a:lnTo>
                  <a:lnTo>
                    <a:pt x="13685" y="7012"/>
                  </a:lnTo>
                  <a:lnTo>
                    <a:pt x="16253" y="6509"/>
                  </a:lnTo>
                  <a:lnTo>
                    <a:pt x="13183" y="5141"/>
                  </a:lnTo>
                  <a:lnTo>
                    <a:pt x="13005" y="2608"/>
                  </a:lnTo>
                  <a:lnTo>
                    <a:pt x="10826" y="557"/>
                  </a:lnTo>
                  <a:lnTo>
                    <a:pt x="4721" y="0"/>
                  </a:lnTo>
                  <a:lnTo>
                    <a:pt x="5669" y="2202"/>
                  </a:lnTo>
                  <a:lnTo>
                    <a:pt x="7460" y="3949"/>
                  </a:lnTo>
                  <a:lnTo>
                    <a:pt x="5314" y="5698"/>
                  </a:lnTo>
                  <a:lnTo>
                    <a:pt x="5314" y="7314"/>
                  </a:lnTo>
                  <a:lnTo>
                    <a:pt x="6436" y="8642"/>
                  </a:lnTo>
                  <a:lnTo>
                    <a:pt x="3235" y="9273"/>
                  </a:lnTo>
                  <a:lnTo>
                    <a:pt x="2971" y="10969"/>
                  </a:lnTo>
                  <a:lnTo>
                    <a:pt x="0" y="11758"/>
                  </a:lnTo>
                  <a:lnTo>
                    <a:pt x="3433" y="12750"/>
                  </a:lnTo>
                  <a:lnTo>
                    <a:pt x="6535" y="13894"/>
                  </a:lnTo>
                  <a:lnTo>
                    <a:pt x="11684" y="13829"/>
                  </a:lnTo>
                  <a:lnTo>
                    <a:pt x="12675" y="15695"/>
                  </a:lnTo>
                  <a:lnTo>
                    <a:pt x="10595" y="17497"/>
                  </a:lnTo>
                  <a:lnTo>
                    <a:pt x="11552" y="18957"/>
                  </a:lnTo>
                  <a:lnTo>
                    <a:pt x="14160" y="20114"/>
                  </a:lnTo>
                  <a:lnTo>
                    <a:pt x="15150" y="21600"/>
                  </a:lnTo>
                  <a:lnTo>
                    <a:pt x="18022" y="20903"/>
                  </a:lnTo>
                  <a:lnTo>
                    <a:pt x="17824" y="18852"/>
                  </a:lnTo>
                  <a:lnTo>
                    <a:pt x="20992" y="18221"/>
                  </a:lnTo>
                  <a:lnTo>
                    <a:pt x="21600" y="14726"/>
                  </a:lnTo>
                  <a:close/>
                  <a:moveTo>
                    <a:pt x="21600" y="14726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D11BE9EB-DA28-BCCA-2D0C-A49ABCA55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97" y="2324675"/>
              <a:ext cx="419126" cy="321004"/>
            </a:xfrm>
            <a:custGeom>
              <a:avLst/>
              <a:gdLst>
                <a:gd name="T0" fmla="*/ 101196106 w 21600"/>
                <a:gd name="T1" fmla="*/ 330702961 h 21600"/>
                <a:gd name="T2" fmla="*/ 90600113 w 21600"/>
                <a:gd name="T3" fmla="*/ 268699590 h 21600"/>
                <a:gd name="T4" fmla="*/ 0 w 21600"/>
                <a:gd name="T5" fmla="*/ 201052267 h 21600"/>
                <a:gd name="T6" fmla="*/ 89794401 w 21600"/>
                <a:gd name="T7" fmla="*/ 135096252 h 21600"/>
                <a:gd name="T8" fmla="*/ 153444242 w 21600"/>
                <a:gd name="T9" fmla="*/ 55614546 h 21600"/>
                <a:gd name="T10" fmla="*/ 223083413 w 21600"/>
                <a:gd name="T11" fmla="*/ 0 h 21600"/>
                <a:gd name="T12" fmla="*/ 387508288 w 21600"/>
                <a:gd name="T13" fmla="*/ 0 h 21600"/>
                <a:gd name="T14" fmla="*/ 521526771 w 21600"/>
                <a:gd name="T15" fmla="*/ 16159479 h 21600"/>
                <a:gd name="T16" fmla="*/ 594161149 w 21600"/>
                <a:gd name="T17" fmla="*/ 72521280 h 21600"/>
                <a:gd name="T18" fmla="*/ 634124515 w 21600"/>
                <a:gd name="T19" fmla="*/ 134130247 h 21600"/>
                <a:gd name="T20" fmla="*/ 732902341 w 21600"/>
                <a:gd name="T21" fmla="*/ 214028311 h 21600"/>
                <a:gd name="T22" fmla="*/ 749255506 w 21600"/>
                <a:gd name="T23" fmla="*/ 282795311 h 21600"/>
                <a:gd name="T24" fmla="*/ 755781990 w 21600"/>
                <a:gd name="T25" fmla="*/ 348180511 h 21600"/>
                <a:gd name="T26" fmla="*/ 829222079 w 21600"/>
                <a:gd name="T27" fmla="*/ 389326100 h 21600"/>
                <a:gd name="T28" fmla="*/ 828953520 w 21600"/>
                <a:gd name="T29" fmla="*/ 474252580 h 21600"/>
                <a:gd name="T30" fmla="*/ 686411377 w 21600"/>
                <a:gd name="T31" fmla="*/ 472188822 h 21600"/>
                <a:gd name="T32" fmla="*/ 590897350 w 21600"/>
                <a:gd name="T33" fmla="*/ 456973394 h 21600"/>
                <a:gd name="T34" fmla="*/ 495422017 w 21600"/>
                <a:gd name="T35" fmla="*/ 432184921 h 21600"/>
                <a:gd name="T36" fmla="*/ 275869848 w 21600"/>
                <a:gd name="T37" fmla="*/ 433875415 h 21600"/>
                <a:gd name="T38" fmla="*/ 197515811 w 21600"/>
                <a:gd name="T39" fmla="*/ 453591594 h 21600"/>
                <a:gd name="T40" fmla="*/ 49791195 w 21600"/>
                <a:gd name="T41" fmla="*/ 460354439 h 21600"/>
                <a:gd name="T42" fmla="*/ 61194013 w 21600"/>
                <a:gd name="T43" fmla="*/ 385396193 h 21600"/>
                <a:gd name="T44" fmla="*/ 168147291 w 21600"/>
                <a:gd name="T45" fmla="*/ 374110644 h 21600"/>
                <a:gd name="T46" fmla="*/ 254640348 w 21600"/>
                <a:gd name="T47" fmla="*/ 352703187 h 21600"/>
                <a:gd name="T48" fmla="*/ 341170917 w 21600"/>
                <a:gd name="T49" fmla="*/ 356633878 h 21600"/>
                <a:gd name="T50" fmla="*/ 479106431 w 21600"/>
                <a:gd name="T51" fmla="*/ 370158812 h 21600"/>
                <a:gd name="T52" fmla="*/ 438950712 w 21600"/>
                <a:gd name="T53" fmla="*/ 329100252 h 21600"/>
                <a:gd name="T54" fmla="*/ 334260941 w 21600"/>
                <a:gd name="T55" fmla="*/ 309779290 h 21600"/>
                <a:gd name="T56" fmla="*/ 263392725 w 21600"/>
                <a:gd name="T57" fmla="*/ 315663160 h 21600"/>
                <a:gd name="T58" fmla="*/ 181200225 w 21600"/>
                <a:gd name="T59" fmla="*/ 317748871 h 21600"/>
                <a:gd name="T60" fmla="*/ 101196106 w 21600"/>
                <a:gd name="T61" fmla="*/ 330702961 h 21600"/>
                <a:gd name="T62" fmla="*/ 101196106 w 21600"/>
                <a:gd name="T63" fmla="*/ 330702961 h 216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1600" h="21600">
                  <a:moveTo>
                    <a:pt x="2636" y="15062"/>
                  </a:moveTo>
                  <a:lnTo>
                    <a:pt x="2360" y="12238"/>
                  </a:lnTo>
                  <a:lnTo>
                    <a:pt x="0" y="9157"/>
                  </a:lnTo>
                  <a:lnTo>
                    <a:pt x="2339" y="6153"/>
                  </a:lnTo>
                  <a:lnTo>
                    <a:pt x="3997" y="2533"/>
                  </a:lnTo>
                  <a:lnTo>
                    <a:pt x="5811" y="0"/>
                  </a:lnTo>
                  <a:lnTo>
                    <a:pt x="10094" y="0"/>
                  </a:lnTo>
                  <a:lnTo>
                    <a:pt x="13585" y="736"/>
                  </a:lnTo>
                  <a:lnTo>
                    <a:pt x="15477" y="3303"/>
                  </a:lnTo>
                  <a:lnTo>
                    <a:pt x="16518" y="6109"/>
                  </a:lnTo>
                  <a:lnTo>
                    <a:pt x="19091" y="9748"/>
                  </a:lnTo>
                  <a:lnTo>
                    <a:pt x="19517" y="12880"/>
                  </a:lnTo>
                  <a:lnTo>
                    <a:pt x="19687" y="15858"/>
                  </a:lnTo>
                  <a:lnTo>
                    <a:pt x="21600" y="17732"/>
                  </a:lnTo>
                  <a:lnTo>
                    <a:pt x="21593" y="21600"/>
                  </a:lnTo>
                  <a:lnTo>
                    <a:pt x="17880" y="21506"/>
                  </a:lnTo>
                  <a:lnTo>
                    <a:pt x="15392" y="20813"/>
                  </a:lnTo>
                  <a:lnTo>
                    <a:pt x="12905" y="19684"/>
                  </a:lnTo>
                  <a:lnTo>
                    <a:pt x="7186" y="19761"/>
                  </a:lnTo>
                  <a:lnTo>
                    <a:pt x="5145" y="20659"/>
                  </a:lnTo>
                  <a:lnTo>
                    <a:pt x="1297" y="20967"/>
                  </a:lnTo>
                  <a:lnTo>
                    <a:pt x="1594" y="17553"/>
                  </a:lnTo>
                  <a:lnTo>
                    <a:pt x="4380" y="17039"/>
                  </a:lnTo>
                  <a:lnTo>
                    <a:pt x="6633" y="16064"/>
                  </a:lnTo>
                  <a:lnTo>
                    <a:pt x="8887" y="16243"/>
                  </a:lnTo>
                  <a:lnTo>
                    <a:pt x="12480" y="16859"/>
                  </a:lnTo>
                  <a:lnTo>
                    <a:pt x="11434" y="14989"/>
                  </a:lnTo>
                  <a:lnTo>
                    <a:pt x="8707" y="14109"/>
                  </a:lnTo>
                  <a:lnTo>
                    <a:pt x="6861" y="14377"/>
                  </a:lnTo>
                  <a:lnTo>
                    <a:pt x="4720" y="14472"/>
                  </a:lnTo>
                  <a:lnTo>
                    <a:pt x="2636" y="15062"/>
                  </a:lnTo>
                  <a:close/>
                  <a:moveTo>
                    <a:pt x="2636" y="15062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E1680263-4F73-C215-4357-B4C326486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785" y="2612819"/>
              <a:ext cx="514093" cy="411997"/>
            </a:xfrm>
            <a:custGeom>
              <a:avLst/>
              <a:gdLst>
                <a:gd name="T0" fmla="*/ 0 w 21600"/>
                <a:gd name="T1" fmla="*/ 303402677 h 21600"/>
                <a:gd name="T2" fmla="*/ 96845014 w 21600"/>
                <a:gd name="T3" fmla="*/ 195335840 h 21600"/>
                <a:gd name="T4" fmla="*/ 251568672 w 21600"/>
                <a:gd name="T5" fmla="*/ 191575911 h 21600"/>
                <a:gd name="T6" fmla="*/ 253198630 w 21600"/>
                <a:gd name="T7" fmla="*/ 101288369 h 21600"/>
                <a:gd name="T8" fmla="*/ 332826459 w 21600"/>
                <a:gd name="T9" fmla="*/ 0 h 21600"/>
                <a:gd name="T10" fmla="*/ 473948947 w 21600"/>
                <a:gd name="T11" fmla="*/ 37089172 h 21600"/>
                <a:gd name="T12" fmla="*/ 810814346 w 21600"/>
                <a:gd name="T13" fmla="*/ 81096292 h 21600"/>
                <a:gd name="T14" fmla="*/ 920623640 w 21600"/>
                <a:gd name="T15" fmla="*/ 127192021 h 21600"/>
                <a:gd name="T16" fmla="*/ 1054803410 w 21600"/>
                <a:gd name="T17" fmla="*/ 103841925 h 21600"/>
                <a:gd name="T18" fmla="*/ 1163124879 w 21600"/>
                <a:gd name="T19" fmla="*/ 126077329 h 21600"/>
                <a:gd name="T20" fmla="*/ 1258268061 w 21600"/>
                <a:gd name="T21" fmla="*/ 59324576 h 21600"/>
                <a:gd name="T22" fmla="*/ 1388693116 w 21600"/>
                <a:gd name="T23" fmla="*/ 61181953 h 21600"/>
                <a:gd name="T24" fmla="*/ 1376223674 w 21600"/>
                <a:gd name="T25" fmla="*/ 220264317 h 21600"/>
                <a:gd name="T26" fmla="*/ 1408884298 w 21600"/>
                <a:gd name="T27" fmla="*/ 345923133 h 21600"/>
                <a:gd name="T28" fmla="*/ 1461380006 w 21600"/>
                <a:gd name="T29" fmla="*/ 467220146 h 21600"/>
                <a:gd name="T30" fmla="*/ 1461380006 w 21600"/>
                <a:gd name="T31" fmla="*/ 563030725 h 21600"/>
                <a:gd name="T32" fmla="*/ 1498714721 w 21600"/>
                <a:gd name="T33" fmla="*/ 679870299 h 21600"/>
                <a:gd name="T34" fmla="*/ 1530240224 w 21600"/>
                <a:gd name="T35" fmla="*/ 792625772 h 21600"/>
                <a:gd name="T36" fmla="*/ 1403075046 w 21600"/>
                <a:gd name="T37" fmla="*/ 830411123 h 21600"/>
                <a:gd name="T38" fmla="*/ 1379766079 w 21600"/>
                <a:gd name="T39" fmla="*/ 942051903 h 21600"/>
                <a:gd name="T40" fmla="*/ 1202372081 w 21600"/>
                <a:gd name="T41" fmla="*/ 1002677157 h 21600"/>
                <a:gd name="T42" fmla="*/ 1156889310 w 21600"/>
                <a:gd name="T43" fmla="*/ 780324266 h 21600"/>
                <a:gd name="T44" fmla="*/ 1048427446 w 21600"/>
                <a:gd name="T45" fmla="*/ 764541828 h 21600"/>
                <a:gd name="T46" fmla="*/ 900220148 w 21600"/>
                <a:gd name="T47" fmla="*/ 762777462 h 21600"/>
                <a:gd name="T48" fmla="*/ 871031752 w 21600"/>
                <a:gd name="T49" fmla="*/ 607222573 h 21600"/>
                <a:gd name="T50" fmla="*/ 817402620 w 21600"/>
                <a:gd name="T51" fmla="*/ 504402328 h 21600"/>
                <a:gd name="T52" fmla="*/ 619038460 w 21600"/>
                <a:gd name="T53" fmla="*/ 487691220 h 21600"/>
                <a:gd name="T54" fmla="*/ 505900767 w 21600"/>
                <a:gd name="T55" fmla="*/ 510529828 h 21600"/>
                <a:gd name="T56" fmla="*/ 442919978 w 21600"/>
                <a:gd name="T57" fmla="*/ 616878769 h 21600"/>
                <a:gd name="T58" fmla="*/ 316886527 w 21600"/>
                <a:gd name="T59" fmla="*/ 639717377 h 21600"/>
                <a:gd name="T60" fmla="*/ 250365071 w 21600"/>
                <a:gd name="T61" fmla="*/ 527240937 h 21600"/>
                <a:gd name="T62" fmla="*/ 87067040 w 21600"/>
                <a:gd name="T63" fmla="*/ 434957796 h 21600"/>
                <a:gd name="T64" fmla="*/ 0 w 21600"/>
                <a:gd name="T65" fmla="*/ 303402677 h 21600"/>
                <a:gd name="T66" fmla="*/ 0 w 21600"/>
                <a:gd name="T67" fmla="*/ 303402677 h 216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1600" h="21600">
                  <a:moveTo>
                    <a:pt x="0" y="6536"/>
                  </a:moveTo>
                  <a:lnTo>
                    <a:pt x="1367" y="4208"/>
                  </a:lnTo>
                  <a:lnTo>
                    <a:pt x="3551" y="4127"/>
                  </a:lnTo>
                  <a:lnTo>
                    <a:pt x="3574" y="2182"/>
                  </a:lnTo>
                  <a:lnTo>
                    <a:pt x="4698" y="0"/>
                  </a:lnTo>
                  <a:lnTo>
                    <a:pt x="6690" y="799"/>
                  </a:lnTo>
                  <a:lnTo>
                    <a:pt x="11445" y="1747"/>
                  </a:lnTo>
                  <a:lnTo>
                    <a:pt x="12995" y="2740"/>
                  </a:lnTo>
                  <a:lnTo>
                    <a:pt x="14889" y="2237"/>
                  </a:lnTo>
                  <a:lnTo>
                    <a:pt x="16418" y="2716"/>
                  </a:lnTo>
                  <a:lnTo>
                    <a:pt x="17761" y="1278"/>
                  </a:lnTo>
                  <a:lnTo>
                    <a:pt x="19602" y="1318"/>
                  </a:lnTo>
                  <a:lnTo>
                    <a:pt x="19426" y="4745"/>
                  </a:lnTo>
                  <a:lnTo>
                    <a:pt x="19887" y="7452"/>
                  </a:lnTo>
                  <a:lnTo>
                    <a:pt x="20628" y="10065"/>
                  </a:lnTo>
                  <a:lnTo>
                    <a:pt x="20628" y="12129"/>
                  </a:lnTo>
                  <a:lnTo>
                    <a:pt x="21155" y="14646"/>
                  </a:lnTo>
                  <a:lnTo>
                    <a:pt x="21600" y="17075"/>
                  </a:lnTo>
                  <a:lnTo>
                    <a:pt x="19805" y="17889"/>
                  </a:lnTo>
                  <a:lnTo>
                    <a:pt x="19476" y="20294"/>
                  </a:lnTo>
                  <a:lnTo>
                    <a:pt x="16972" y="21600"/>
                  </a:lnTo>
                  <a:lnTo>
                    <a:pt x="16330" y="16810"/>
                  </a:lnTo>
                  <a:lnTo>
                    <a:pt x="14799" y="16470"/>
                  </a:lnTo>
                  <a:lnTo>
                    <a:pt x="12707" y="16432"/>
                  </a:lnTo>
                  <a:lnTo>
                    <a:pt x="12295" y="13081"/>
                  </a:lnTo>
                  <a:lnTo>
                    <a:pt x="11538" y="10866"/>
                  </a:lnTo>
                  <a:lnTo>
                    <a:pt x="8738" y="10506"/>
                  </a:lnTo>
                  <a:lnTo>
                    <a:pt x="7141" y="10998"/>
                  </a:lnTo>
                  <a:lnTo>
                    <a:pt x="6252" y="13289"/>
                  </a:lnTo>
                  <a:lnTo>
                    <a:pt x="4473" y="13781"/>
                  </a:lnTo>
                  <a:lnTo>
                    <a:pt x="3534" y="11358"/>
                  </a:lnTo>
                  <a:lnTo>
                    <a:pt x="1229" y="9370"/>
                  </a:lnTo>
                  <a:lnTo>
                    <a:pt x="0" y="6536"/>
                  </a:lnTo>
                  <a:close/>
                  <a:moveTo>
                    <a:pt x="0" y="6536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64134765-C1B5-E949-834D-7EF87F670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33" y="999379"/>
              <a:ext cx="882085" cy="553540"/>
            </a:xfrm>
            <a:custGeom>
              <a:avLst/>
              <a:gdLst>
                <a:gd name="T0" fmla="*/ 2147483647 w 21600"/>
                <a:gd name="T1" fmla="*/ 861152695 h 21600"/>
                <a:gd name="T2" fmla="*/ 2147483647 w 21600"/>
                <a:gd name="T3" fmla="*/ 714006688 h 21600"/>
                <a:gd name="T4" fmla="*/ 2147483647 w 21600"/>
                <a:gd name="T5" fmla="*/ 670548366 h 21600"/>
                <a:gd name="T6" fmla="*/ 2147483647 w 21600"/>
                <a:gd name="T7" fmla="*/ 530045028 h 21600"/>
                <a:gd name="T8" fmla="*/ 2147483647 w 21600"/>
                <a:gd name="T9" fmla="*/ 324353071 h 21600"/>
                <a:gd name="T10" fmla="*/ 2147483647 w 21600"/>
                <a:gd name="T11" fmla="*/ 157167132 h 21600"/>
                <a:gd name="T12" fmla="*/ 2147483647 w 21600"/>
                <a:gd name="T13" fmla="*/ 0 h 21600"/>
                <a:gd name="T14" fmla="*/ 2147483647 w 21600"/>
                <a:gd name="T15" fmla="*/ 1688045 h 21600"/>
                <a:gd name="T16" fmla="*/ 2147483647 w 21600"/>
                <a:gd name="T17" fmla="*/ 160543271 h 21600"/>
                <a:gd name="T18" fmla="*/ 2147483647 w 21600"/>
                <a:gd name="T19" fmla="*/ 202313500 h 21600"/>
                <a:gd name="T20" fmla="*/ 2147483647 w 21600"/>
                <a:gd name="T21" fmla="*/ 214022719 h 21600"/>
                <a:gd name="T22" fmla="*/ 2147483647 w 21600"/>
                <a:gd name="T23" fmla="*/ 280897066 h 21600"/>
                <a:gd name="T24" fmla="*/ 2147483647 w 21600"/>
                <a:gd name="T25" fmla="*/ 466546772 h 21600"/>
                <a:gd name="T26" fmla="*/ 2147483647 w 21600"/>
                <a:gd name="T27" fmla="*/ 703985563 h 21600"/>
                <a:gd name="T28" fmla="*/ 2147483647 w 21600"/>
                <a:gd name="T29" fmla="*/ 899544467 h 21600"/>
                <a:gd name="T30" fmla="*/ 2147483647 w 21600"/>
                <a:gd name="T31" fmla="*/ 1058399692 h 21600"/>
                <a:gd name="T32" fmla="*/ 2147483647 w 21600"/>
                <a:gd name="T33" fmla="*/ 1205321842 h 21600"/>
                <a:gd name="T34" fmla="*/ 2147483647 w 21600"/>
                <a:gd name="T35" fmla="*/ 1215340650 h 21600"/>
                <a:gd name="T36" fmla="*/ 2147483647 w 21600"/>
                <a:gd name="T37" fmla="*/ 1302254930 h 21600"/>
                <a:gd name="T38" fmla="*/ 2147483647 w 21600"/>
                <a:gd name="T39" fmla="*/ 1536317582 h 21600"/>
                <a:gd name="T40" fmla="*/ 2147483647 w 21600"/>
                <a:gd name="T41" fmla="*/ 1633364914 h 21600"/>
                <a:gd name="T42" fmla="*/ 2147483647 w 21600"/>
                <a:gd name="T43" fmla="*/ 1802238947 h 21600"/>
                <a:gd name="T44" fmla="*/ 2147483647 w 21600"/>
                <a:gd name="T45" fmla="*/ 1857406441 h 21600"/>
                <a:gd name="T46" fmla="*/ 2147483647 w 21600"/>
                <a:gd name="T47" fmla="*/ 1894219729 h 21600"/>
                <a:gd name="T48" fmla="*/ 2147483647 w 21600"/>
                <a:gd name="T49" fmla="*/ 1995319405 h 21600"/>
                <a:gd name="T50" fmla="*/ 2147483647 w 21600"/>
                <a:gd name="T51" fmla="*/ 2139203518 h 21600"/>
                <a:gd name="T52" fmla="*/ 2147483647 w 21600"/>
                <a:gd name="T53" fmla="*/ 2147483647 h 21600"/>
                <a:gd name="T54" fmla="*/ 2089179254 w 21600"/>
                <a:gd name="T55" fmla="*/ 2147483647 h 21600"/>
                <a:gd name="T56" fmla="*/ 1225306922 w 21600"/>
                <a:gd name="T57" fmla="*/ 2147483647 h 21600"/>
                <a:gd name="T58" fmla="*/ 0 w 21600"/>
                <a:gd name="T59" fmla="*/ 2147483647 h 21600"/>
                <a:gd name="T60" fmla="*/ 531420654 w 21600"/>
                <a:gd name="T61" fmla="*/ 2147483647 h 21600"/>
                <a:gd name="T62" fmla="*/ 1134769310 w 21600"/>
                <a:gd name="T63" fmla="*/ 2147483647 h 21600"/>
                <a:gd name="T64" fmla="*/ 1416760490 w 21600"/>
                <a:gd name="T65" fmla="*/ 2015473535 h 21600"/>
                <a:gd name="T66" fmla="*/ 1962496173 w 21600"/>
                <a:gd name="T67" fmla="*/ 1890055556 h 21600"/>
                <a:gd name="T68" fmla="*/ 2147483647 w 21600"/>
                <a:gd name="T69" fmla="*/ 1682787433 h 21600"/>
                <a:gd name="T70" fmla="*/ 2147483647 w 21600"/>
                <a:gd name="T71" fmla="*/ 1410223399 h 21600"/>
                <a:gd name="T72" fmla="*/ 2147483647 w 21600"/>
                <a:gd name="T73" fmla="*/ 1214664495 h 21600"/>
                <a:gd name="T74" fmla="*/ 2147483647 w 21600"/>
                <a:gd name="T75" fmla="*/ 1042412053 h 21600"/>
                <a:gd name="T76" fmla="*/ 2147483647 w 21600"/>
                <a:gd name="T77" fmla="*/ 861152695 h 21600"/>
                <a:gd name="T78" fmla="*/ 2147483647 w 21600"/>
                <a:gd name="T79" fmla="*/ 861152695 h 216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1600" h="21600">
                  <a:moveTo>
                    <a:pt x="9054" y="7649"/>
                  </a:moveTo>
                  <a:lnTo>
                    <a:pt x="9811" y="6342"/>
                  </a:lnTo>
                  <a:lnTo>
                    <a:pt x="11336" y="5956"/>
                  </a:lnTo>
                  <a:lnTo>
                    <a:pt x="12659" y="4708"/>
                  </a:lnTo>
                  <a:lnTo>
                    <a:pt x="13760" y="2881"/>
                  </a:lnTo>
                  <a:lnTo>
                    <a:pt x="14356" y="1396"/>
                  </a:lnTo>
                  <a:lnTo>
                    <a:pt x="14619" y="0"/>
                  </a:lnTo>
                  <a:lnTo>
                    <a:pt x="15639" y="15"/>
                  </a:lnTo>
                  <a:lnTo>
                    <a:pt x="16214" y="1426"/>
                  </a:lnTo>
                  <a:lnTo>
                    <a:pt x="17578" y="1797"/>
                  </a:lnTo>
                  <a:lnTo>
                    <a:pt x="19004" y="1901"/>
                  </a:lnTo>
                  <a:lnTo>
                    <a:pt x="20297" y="2495"/>
                  </a:lnTo>
                  <a:lnTo>
                    <a:pt x="21085" y="4144"/>
                  </a:lnTo>
                  <a:lnTo>
                    <a:pt x="21014" y="6253"/>
                  </a:lnTo>
                  <a:lnTo>
                    <a:pt x="20893" y="7990"/>
                  </a:lnTo>
                  <a:lnTo>
                    <a:pt x="21600" y="9401"/>
                  </a:lnTo>
                  <a:lnTo>
                    <a:pt x="20974" y="10706"/>
                  </a:lnTo>
                  <a:lnTo>
                    <a:pt x="18924" y="10795"/>
                  </a:lnTo>
                  <a:lnTo>
                    <a:pt x="16702" y="11567"/>
                  </a:lnTo>
                  <a:lnTo>
                    <a:pt x="16631" y="13646"/>
                  </a:lnTo>
                  <a:lnTo>
                    <a:pt x="14611" y="14508"/>
                  </a:lnTo>
                  <a:lnTo>
                    <a:pt x="13248" y="16008"/>
                  </a:lnTo>
                  <a:lnTo>
                    <a:pt x="11680" y="16498"/>
                  </a:lnTo>
                  <a:lnTo>
                    <a:pt x="10387" y="16825"/>
                  </a:lnTo>
                  <a:lnTo>
                    <a:pt x="9143" y="17723"/>
                  </a:lnTo>
                  <a:lnTo>
                    <a:pt x="7891" y="19001"/>
                  </a:lnTo>
                  <a:lnTo>
                    <a:pt x="7467" y="21600"/>
                  </a:lnTo>
                  <a:lnTo>
                    <a:pt x="5838" y="21600"/>
                  </a:lnTo>
                  <a:lnTo>
                    <a:pt x="3424" y="21333"/>
                  </a:lnTo>
                  <a:lnTo>
                    <a:pt x="0" y="21065"/>
                  </a:lnTo>
                  <a:lnTo>
                    <a:pt x="1485" y="19833"/>
                  </a:lnTo>
                  <a:lnTo>
                    <a:pt x="3171" y="19328"/>
                  </a:lnTo>
                  <a:lnTo>
                    <a:pt x="3959" y="17902"/>
                  </a:lnTo>
                  <a:lnTo>
                    <a:pt x="5484" y="16788"/>
                  </a:lnTo>
                  <a:lnTo>
                    <a:pt x="6575" y="14947"/>
                  </a:lnTo>
                  <a:lnTo>
                    <a:pt x="6575" y="12526"/>
                  </a:lnTo>
                  <a:lnTo>
                    <a:pt x="6777" y="10789"/>
                  </a:lnTo>
                  <a:lnTo>
                    <a:pt x="7888" y="9259"/>
                  </a:lnTo>
                  <a:lnTo>
                    <a:pt x="9054" y="7649"/>
                  </a:lnTo>
                  <a:close/>
                  <a:moveTo>
                    <a:pt x="9054" y="7649"/>
                  </a:moveTo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36E8C674-7E70-C714-4705-D50345D07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5024" y="2273281"/>
              <a:ext cx="495830" cy="377453"/>
            </a:xfrm>
            <a:custGeom>
              <a:avLst/>
              <a:gdLst>
                <a:gd name="T0" fmla="*/ 9533584 w 21600"/>
                <a:gd name="T1" fmla="*/ 536540146 h 21600"/>
                <a:gd name="T2" fmla="*/ 0 w 21600"/>
                <a:gd name="T3" fmla="*/ 423884156 h 21600"/>
                <a:gd name="T4" fmla="*/ 29745914 w 21600"/>
                <a:gd name="T5" fmla="*/ 319903292 h 21600"/>
                <a:gd name="T6" fmla="*/ 44492242 w 21600"/>
                <a:gd name="T7" fmla="*/ 155989208 h 21600"/>
                <a:gd name="T8" fmla="*/ 168814431 w 21600"/>
                <a:gd name="T9" fmla="*/ 142246947 h 21600"/>
                <a:gd name="T10" fmla="*/ 168814431 w 21600"/>
                <a:gd name="T11" fmla="*/ 68607225 h 21600"/>
                <a:gd name="T12" fmla="*/ 287860182 w 21600"/>
                <a:gd name="T13" fmla="*/ 73675480 h 21600"/>
                <a:gd name="T14" fmla="*/ 379259141 w 21600"/>
                <a:gd name="T15" fmla="*/ 0 h 21600"/>
                <a:gd name="T16" fmla="*/ 466399357 w 21600"/>
                <a:gd name="T17" fmla="*/ 53436111 h 21600"/>
                <a:gd name="T18" fmla="*/ 509937598 w 21600"/>
                <a:gd name="T19" fmla="*/ 155275868 h 21600"/>
                <a:gd name="T20" fmla="*/ 513178647 w 21600"/>
                <a:gd name="T21" fmla="*/ 261398926 h 21600"/>
                <a:gd name="T22" fmla="*/ 608772657 w 21600"/>
                <a:gd name="T23" fmla="*/ 330755315 h 21600"/>
                <a:gd name="T24" fmla="*/ 746950866 w 21600"/>
                <a:gd name="T25" fmla="*/ 366843381 h 21600"/>
                <a:gd name="T26" fmla="*/ 868095739 w 21600"/>
                <a:gd name="T27" fmla="*/ 431130395 h 21600"/>
                <a:gd name="T28" fmla="*/ 994579186 w 21600"/>
                <a:gd name="T29" fmla="*/ 500450993 h 21600"/>
                <a:gd name="T30" fmla="*/ 1113561204 w 21600"/>
                <a:gd name="T31" fmla="*/ 580302685 h 21600"/>
                <a:gd name="T32" fmla="*/ 1245384781 w 21600"/>
                <a:gd name="T33" fmla="*/ 660831960 h 21600"/>
                <a:gd name="T34" fmla="*/ 1372884326 w 21600"/>
                <a:gd name="T35" fmla="*/ 751533469 h 21600"/>
                <a:gd name="T36" fmla="*/ 1227269977 w 21600"/>
                <a:gd name="T37" fmla="*/ 771023740 h 21600"/>
                <a:gd name="T38" fmla="*/ 1045553486 w 21600"/>
                <a:gd name="T39" fmla="*/ 664151519 h 21600"/>
                <a:gd name="T40" fmla="*/ 911696117 w 21600"/>
                <a:gd name="T41" fmla="*/ 587620472 h 21600"/>
                <a:gd name="T42" fmla="*/ 762904452 w 21600"/>
                <a:gd name="T43" fmla="*/ 524046798 h 21600"/>
                <a:gd name="T44" fmla="*/ 587544230 w 21600"/>
                <a:gd name="T45" fmla="*/ 513230566 h 21600"/>
                <a:gd name="T46" fmla="*/ 381356666 w 21600"/>
                <a:gd name="T47" fmla="*/ 485780715 h 21600"/>
                <a:gd name="T48" fmla="*/ 277246767 w 21600"/>
                <a:gd name="T49" fmla="*/ 552209956 h 21600"/>
                <a:gd name="T50" fmla="*/ 167796737 w 21600"/>
                <a:gd name="T51" fmla="*/ 511052548 h 21600"/>
                <a:gd name="T52" fmla="*/ 9533584 w 21600"/>
                <a:gd name="T53" fmla="*/ 536540146 h 21600"/>
                <a:gd name="T54" fmla="*/ 9533584 w 21600"/>
                <a:gd name="T55" fmla="*/ 536540146 h 216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600" h="21600">
                  <a:moveTo>
                    <a:pt x="150" y="15031"/>
                  </a:moveTo>
                  <a:lnTo>
                    <a:pt x="0" y="11875"/>
                  </a:lnTo>
                  <a:lnTo>
                    <a:pt x="468" y="8962"/>
                  </a:lnTo>
                  <a:lnTo>
                    <a:pt x="700" y="4370"/>
                  </a:lnTo>
                  <a:lnTo>
                    <a:pt x="2656" y="3985"/>
                  </a:lnTo>
                  <a:lnTo>
                    <a:pt x="2656" y="1922"/>
                  </a:lnTo>
                  <a:lnTo>
                    <a:pt x="4529" y="2064"/>
                  </a:lnTo>
                  <a:lnTo>
                    <a:pt x="5967" y="0"/>
                  </a:lnTo>
                  <a:lnTo>
                    <a:pt x="7338" y="1497"/>
                  </a:lnTo>
                  <a:lnTo>
                    <a:pt x="8023" y="4350"/>
                  </a:lnTo>
                  <a:lnTo>
                    <a:pt x="8074" y="7323"/>
                  </a:lnTo>
                  <a:lnTo>
                    <a:pt x="9578" y="9266"/>
                  </a:lnTo>
                  <a:lnTo>
                    <a:pt x="11752" y="10277"/>
                  </a:lnTo>
                  <a:lnTo>
                    <a:pt x="13658" y="12078"/>
                  </a:lnTo>
                  <a:lnTo>
                    <a:pt x="15648" y="14020"/>
                  </a:lnTo>
                  <a:lnTo>
                    <a:pt x="17520" y="16257"/>
                  </a:lnTo>
                  <a:lnTo>
                    <a:pt x="19594" y="18513"/>
                  </a:lnTo>
                  <a:lnTo>
                    <a:pt x="21600" y="21054"/>
                  </a:lnTo>
                  <a:lnTo>
                    <a:pt x="19309" y="21600"/>
                  </a:lnTo>
                  <a:lnTo>
                    <a:pt x="16450" y="18606"/>
                  </a:lnTo>
                  <a:lnTo>
                    <a:pt x="14344" y="16462"/>
                  </a:lnTo>
                  <a:lnTo>
                    <a:pt x="12003" y="14681"/>
                  </a:lnTo>
                  <a:lnTo>
                    <a:pt x="9244" y="14378"/>
                  </a:lnTo>
                  <a:lnTo>
                    <a:pt x="6000" y="13609"/>
                  </a:lnTo>
                  <a:lnTo>
                    <a:pt x="4362" y="15470"/>
                  </a:lnTo>
                  <a:lnTo>
                    <a:pt x="2640" y="14317"/>
                  </a:lnTo>
                  <a:lnTo>
                    <a:pt x="150" y="15031"/>
                  </a:lnTo>
                  <a:close/>
                  <a:moveTo>
                    <a:pt x="150" y="15031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7A5A6DA0-43CB-4B8B-A561-87BEAD19B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806" y="4417514"/>
              <a:ext cx="579838" cy="971435"/>
            </a:xfrm>
            <a:custGeom>
              <a:avLst/>
              <a:gdLst>
                <a:gd name="T0" fmla="*/ 0 w 21600"/>
                <a:gd name="T1" fmla="*/ 2147483647 h 21600"/>
                <a:gd name="T2" fmla="*/ 46046171 w 21600"/>
                <a:gd name="T3" fmla="*/ 2147483647 h 21600"/>
                <a:gd name="T4" fmla="*/ 224236801 w 21600"/>
                <a:gd name="T5" fmla="*/ 2147483647 h 21600"/>
                <a:gd name="T6" fmla="*/ 382402399 w 21600"/>
                <a:gd name="T7" fmla="*/ 2147483647 h 21600"/>
                <a:gd name="T8" fmla="*/ 399683072 w 21600"/>
                <a:gd name="T9" fmla="*/ 2147483647 h 21600"/>
                <a:gd name="T10" fmla="*/ 370915381 w 21600"/>
                <a:gd name="T11" fmla="*/ 2147483647 h 21600"/>
                <a:gd name="T12" fmla="*/ 350790196 w 21600"/>
                <a:gd name="T13" fmla="*/ 2147483647 h 21600"/>
                <a:gd name="T14" fmla="*/ 483034854 w 21600"/>
                <a:gd name="T15" fmla="*/ 2147483647 h 21600"/>
                <a:gd name="T16" fmla="*/ 652685370 w 21600"/>
                <a:gd name="T17" fmla="*/ 2147483647 h 21600"/>
                <a:gd name="T18" fmla="*/ 905689815 w 21600"/>
                <a:gd name="T19" fmla="*/ 2147483647 h 21600"/>
                <a:gd name="T20" fmla="*/ 1144258192 w 21600"/>
                <a:gd name="T21" fmla="*/ 2147483647 h 21600"/>
                <a:gd name="T22" fmla="*/ 1344608286 w 21600"/>
                <a:gd name="T23" fmla="*/ 2147483647 h 21600"/>
                <a:gd name="T24" fmla="*/ 1554513511 w 21600"/>
                <a:gd name="T25" fmla="*/ 2066504747 h 21600"/>
                <a:gd name="T26" fmla="*/ 1566000529 w 21600"/>
                <a:gd name="T27" fmla="*/ 1479286702 h 21600"/>
                <a:gd name="T28" fmla="*/ 1775903560 w 21600"/>
                <a:gd name="T29" fmla="*/ 1706260577 h 21600"/>
                <a:gd name="T30" fmla="*/ 1807517956 w 21600"/>
                <a:gd name="T31" fmla="*/ 1014388149 h 21600"/>
                <a:gd name="T32" fmla="*/ 1859255343 w 21600"/>
                <a:gd name="T33" fmla="*/ 436304249 h 21600"/>
                <a:gd name="T34" fmla="*/ 1982861881 w 21600"/>
                <a:gd name="T35" fmla="*/ 0 h 21600"/>
                <a:gd name="T36" fmla="*/ 2089185553 w 21600"/>
                <a:gd name="T37" fmla="*/ 758202384 h 21600"/>
                <a:gd name="T38" fmla="*/ 2138078428 w 21600"/>
                <a:gd name="T39" fmla="*/ 1715997902 h 21600"/>
                <a:gd name="T40" fmla="*/ 2147483647 w 21600"/>
                <a:gd name="T41" fmla="*/ 2147483647 h 21600"/>
                <a:gd name="T42" fmla="*/ 2147483647 w 21600"/>
                <a:gd name="T43" fmla="*/ 2147483647 h 21600"/>
                <a:gd name="T44" fmla="*/ 2147483647 w 21600"/>
                <a:gd name="T45" fmla="*/ 2147483647 h 21600"/>
                <a:gd name="T46" fmla="*/ 2089185553 w 21600"/>
                <a:gd name="T47" fmla="*/ 2147483647 h 21600"/>
                <a:gd name="T48" fmla="*/ 1985706392 w 21600"/>
                <a:gd name="T49" fmla="*/ 2147483647 h 21600"/>
                <a:gd name="T50" fmla="*/ 1974221568 w 21600"/>
                <a:gd name="T51" fmla="*/ 2147483647 h 21600"/>
                <a:gd name="T52" fmla="*/ 2002987066 w 21600"/>
                <a:gd name="T53" fmla="*/ 2147483647 h 21600"/>
                <a:gd name="T54" fmla="*/ 1859255343 w 21600"/>
                <a:gd name="T55" fmla="*/ 2147483647 h 21600"/>
                <a:gd name="T56" fmla="*/ 1821849532 w 21600"/>
                <a:gd name="T57" fmla="*/ 2147483647 h 21600"/>
                <a:gd name="T58" fmla="*/ 1749984767 w 21600"/>
                <a:gd name="T59" fmla="*/ 2147483647 h 21600"/>
                <a:gd name="T60" fmla="*/ 1635018589 w 21600"/>
                <a:gd name="T61" fmla="*/ 2147483647 h 21600"/>
                <a:gd name="T62" fmla="*/ 1517107653 w 21600"/>
                <a:gd name="T63" fmla="*/ 2147483647 h 21600"/>
                <a:gd name="T64" fmla="*/ 1382016291 w 21600"/>
                <a:gd name="T65" fmla="*/ 2147483647 h 21600"/>
                <a:gd name="T66" fmla="*/ 1266949913 w 21600"/>
                <a:gd name="T67" fmla="*/ 2147483647 h 21600"/>
                <a:gd name="T68" fmla="*/ 1157677144 w 21600"/>
                <a:gd name="T69" fmla="*/ 2147483647 h 21600"/>
                <a:gd name="T70" fmla="*/ 1048506721 w 21600"/>
                <a:gd name="T71" fmla="*/ 2147483647 h 21600"/>
                <a:gd name="T72" fmla="*/ 936387247 w 21600"/>
                <a:gd name="T73" fmla="*/ 2147483647 h 21600"/>
                <a:gd name="T74" fmla="*/ 772427994 w 21600"/>
                <a:gd name="T75" fmla="*/ 2147483647 h 21600"/>
                <a:gd name="T76" fmla="*/ 620056004 w 21600"/>
                <a:gd name="T77" fmla="*/ 2147483647 h 21600"/>
                <a:gd name="T78" fmla="*/ 392974693 w 21600"/>
                <a:gd name="T79" fmla="*/ 2147483647 h 21600"/>
                <a:gd name="T80" fmla="*/ 226168735 w 21600"/>
                <a:gd name="T81" fmla="*/ 2147483647 h 21600"/>
                <a:gd name="T82" fmla="*/ 68105436 w 21600"/>
                <a:gd name="T83" fmla="*/ 2147483647 h 21600"/>
                <a:gd name="T84" fmla="*/ 42184450 w 21600"/>
                <a:gd name="T85" fmla="*/ 2147483647 h 21600"/>
                <a:gd name="T86" fmla="*/ 56618418 w 21600"/>
                <a:gd name="T87" fmla="*/ 2147483647 h 21600"/>
                <a:gd name="T88" fmla="*/ 0 w 21600"/>
                <a:gd name="T89" fmla="*/ 2147483647 h 21600"/>
                <a:gd name="T90" fmla="*/ 0 w 21600"/>
                <a:gd name="T91" fmla="*/ 2147483647 h 216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1600" h="21600">
                  <a:moveTo>
                    <a:pt x="0" y="16288"/>
                  </a:moveTo>
                  <a:lnTo>
                    <a:pt x="453" y="14870"/>
                  </a:lnTo>
                  <a:lnTo>
                    <a:pt x="2206" y="14013"/>
                  </a:lnTo>
                  <a:lnTo>
                    <a:pt x="3762" y="12844"/>
                  </a:lnTo>
                  <a:lnTo>
                    <a:pt x="3932" y="11676"/>
                  </a:lnTo>
                  <a:lnTo>
                    <a:pt x="3649" y="10414"/>
                  </a:lnTo>
                  <a:lnTo>
                    <a:pt x="3451" y="8685"/>
                  </a:lnTo>
                  <a:lnTo>
                    <a:pt x="4752" y="7329"/>
                  </a:lnTo>
                  <a:lnTo>
                    <a:pt x="6421" y="6441"/>
                  </a:lnTo>
                  <a:lnTo>
                    <a:pt x="8910" y="6083"/>
                  </a:lnTo>
                  <a:lnTo>
                    <a:pt x="11257" y="5506"/>
                  </a:lnTo>
                  <a:lnTo>
                    <a:pt x="13228" y="4658"/>
                  </a:lnTo>
                  <a:lnTo>
                    <a:pt x="15293" y="3396"/>
                  </a:lnTo>
                  <a:lnTo>
                    <a:pt x="15406" y="2431"/>
                  </a:lnTo>
                  <a:lnTo>
                    <a:pt x="17471" y="2804"/>
                  </a:lnTo>
                  <a:lnTo>
                    <a:pt x="17782" y="1667"/>
                  </a:lnTo>
                  <a:lnTo>
                    <a:pt x="18291" y="717"/>
                  </a:lnTo>
                  <a:lnTo>
                    <a:pt x="19507" y="0"/>
                  </a:lnTo>
                  <a:lnTo>
                    <a:pt x="20553" y="1246"/>
                  </a:lnTo>
                  <a:lnTo>
                    <a:pt x="21034" y="2820"/>
                  </a:lnTo>
                  <a:lnTo>
                    <a:pt x="21345" y="4004"/>
                  </a:lnTo>
                  <a:lnTo>
                    <a:pt x="21176" y="5110"/>
                  </a:lnTo>
                  <a:lnTo>
                    <a:pt x="21600" y="6045"/>
                  </a:lnTo>
                  <a:lnTo>
                    <a:pt x="20553" y="6668"/>
                  </a:lnTo>
                  <a:lnTo>
                    <a:pt x="19535" y="5796"/>
                  </a:lnTo>
                  <a:lnTo>
                    <a:pt x="19422" y="7042"/>
                  </a:lnTo>
                  <a:lnTo>
                    <a:pt x="19705" y="8257"/>
                  </a:lnTo>
                  <a:lnTo>
                    <a:pt x="18291" y="8522"/>
                  </a:lnTo>
                  <a:lnTo>
                    <a:pt x="17923" y="9987"/>
                  </a:lnTo>
                  <a:lnTo>
                    <a:pt x="17216" y="11169"/>
                  </a:lnTo>
                  <a:lnTo>
                    <a:pt x="16085" y="12525"/>
                  </a:lnTo>
                  <a:lnTo>
                    <a:pt x="14925" y="13818"/>
                  </a:lnTo>
                  <a:lnTo>
                    <a:pt x="13596" y="15563"/>
                  </a:lnTo>
                  <a:lnTo>
                    <a:pt x="12464" y="16965"/>
                  </a:lnTo>
                  <a:lnTo>
                    <a:pt x="11389" y="18523"/>
                  </a:lnTo>
                  <a:lnTo>
                    <a:pt x="10315" y="19637"/>
                  </a:lnTo>
                  <a:lnTo>
                    <a:pt x="9212" y="20899"/>
                  </a:lnTo>
                  <a:lnTo>
                    <a:pt x="7599" y="21086"/>
                  </a:lnTo>
                  <a:lnTo>
                    <a:pt x="6100" y="21179"/>
                  </a:lnTo>
                  <a:lnTo>
                    <a:pt x="3866" y="21600"/>
                  </a:lnTo>
                  <a:lnTo>
                    <a:pt x="2225" y="21008"/>
                  </a:lnTo>
                  <a:lnTo>
                    <a:pt x="670" y="20198"/>
                  </a:lnTo>
                  <a:lnTo>
                    <a:pt x="415" y="18796"/>
                  </a:lnTo>
                  <a:lnTo>
                    <a:pt x="557" y="17549"/>
                  </a:lnTo>
                  <a:lnTo>
                    <a:pt x="0" y="16288"/>
                  </a:lnTo>
                  <a:close/>
                  <a:moveTo>
                    <a:pt x="0" y="16288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341B5DFC-4A59-7103-7F3E-4D733F532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549" y="2674324"/>
              <a:ext cx="232848" cy="433901"/>
            </a:xfrm>
            <a:custGeom>
              <a:avLst/>
              <a:gdLst>
                <a:gd name="T0" fmla="*/ 83046282 w 21600"/>
                <a:gd name="T1" fmla="*/ 1147188123 h 21600"/>
                <a:gd name="T2" fmla="*/ 85416082 w 21600"/>
                <a:gd name="T3" fmla="*/ 967268465 h 21600"/>
                <a:gd name="T4" fmla="*/ 87989936 w 21600"/>
                <a:gd name="T5" fmla="*/ 775582652 h 21600"/>
                <a:gd name="T6" fmla="*/ 93986589 w 21600"/>
                <a:gd name="T7" fmla="*/ 623752569 h 21600"/>
                <a:gd name="T8" fmla="*/ 131382709 w 21600"/>
                <a:gd name="T9" fmla="*/ 441555055 h 21600"/>
                <a:gd name="T10" fmla="*/ 142184630 w 21600"/>
                <a:gd name="T11" fmla="*/ 313800318 h 21600"/>
                <a:gd name="T12" fmla="*/ 128427057 w 21600"/>
                <a:gd name="T13" fmla="*/ 216900107 h 21600"/>
                <a:gd name="T14" fmla="*/ 131599771 w 21600"/>
                <a:gd name="T15" fmla="*/ 80957904 h 21600"/>
                <a:gd name="T16" fmla="*/ 102313703 w 21600"/>
                <a:gd name="T17" fmla="*/ 0 h 21600"/>
                <a:gd name="T18" fmla="*/ 72329709 w 21600"/>
                <a:gd name="T19" fmla="*/ 10140153 h 21600"/>
                <a:gd name="T20" fmla="*/ 66728198 w 21600"/>
                <a:gd name="T21" fmla="*/ 156276976 h 21600"/>
                <a:gd name="T22" fmla="*/ 37224712 w 21600"/>
                <a:gd name="T23" fmla="*/ 153511989 h 21600"/>
                <a:gd name="T24" fmla="*/ 7412145 w 21600"/>
                <a:gd name="T25" fmla="*/ 253068255 h 21600"/>
                <a:gd name="T26" fmla="*/ 0 w 21600"/>
                <a:gd name="T27" fmla="*/ 354253475 h 21600"/>
                <a:gd name="T28" fmla="*/ 24717896 w 21600"/>
                <a:gd name="T29" fmla="*/ 441067962 h 21600"/>
                <a:gd name="T30" fmla="*/ 30339422 w 21600"/>
                <a:gd name="T31" fmla="*/ 561067857 h 21600"/>
                <a:gd name="T32" fmla="*/ 33202699 w 21600"/>
                <a:gd name="T33" fmla="*/ 727864623 h 21600"/>
                <a:gd name="T34" fmla="*/ 33163361 w 21600"/>
                <a:gd name="T35" fmla="*/ 939885172 h 21600"/>
                <a:gd name="T36" fmla="*/ 33163361 w 21600"/>
                <a:gd name="T37" fmla="*/ 1068615532 h 21600"/>
                <a:gd name="T38" fmla="*/ 39160032 w 21600"/>
                <a:gd name="T39" fmla="*/ 1171263432 h 21600"/>
                <a:gd name="T40" fmla="*/ 83046282 w 21600"/>
                <a:gd name="T41" fmla="*/ 1147188123 h 21600"/>
                <a:gd name="T42" fmla="*/ 83046282 w 21600"/>
                <a:gd name="T43" fmla="*/ 1147188123 h 216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1600" h="21600">
                  <a:moveTo>
                    <a:pt x="12616" y="21156"/>
                  </a:moveTo>
                  <a:lnTo>
                    <a:pt x="12976" y="17838"/>
                  </a:lnTo>
                  <a:lnTo>
                    <a:pt x="13367" y="14303"/>
                  </a:lnTo>
                  <a:lnTo>
                    <a:pt x="14278" y="11503"/>
                  </a:lnTo>
                  <a:lnTo>
                    <a:pt x="19959" y="8143"/>
                  </a:lnTo>
                  <a:lnTo>
                    <a:pt x="21600" y="5787"/>
                  </a:lnTo>
                  <a:lnTo>
                    <a:pt x="19510" y="4000"/>
                  </a:lnTo>
                  <a:lnTo>
                    <a:pt x="19992" y="1493"/>
                  </a:lnTo>
                  <a:lnTo>
                    <a:pt x="15543" y="0"/>
                  </a:lnTo>
                  <a:lnTo>
                    <a:pt x="10988" y="187"/>
                  </a:lnTo>
                  <a:lnTo>
                    <a:pt x="10137" y="2882"/>
                  </a:lnTo>
                  <a:lnTo>
                    <a:pt x="5655" y="2831"/>
                  </a:lnTo>
                  <a:lnTo>
                    <a:pt x="1126" y="4667"/>
                  </a:lnTo>
                  <a:lnTo>
                    <a:pt x="0" y="6533"/>
                  </a:lnTo>
                  <a:lnTo>
                    <a:pt x="3755" y="8134"/>
                  </a:lnTo>
                  <a:lnTo>
                    <a:pt x="4609" y="10347"/>
                  </a:lnTo>
                  <a:lnTo>
                    <a:pt x="5044" y="13423"/>
                  </a:lnTo>
                  <a:lnTo>
                    <a:pt x="5038" y="17333"/>
                  </a:lnTo>
                  <a:lnTo>
                    <a:pt x="5038" y="19707"/>
                  </a:lnTo>
                  <a:lnTo>
                    <a:pt x="5949" y="21600"/>
                  </a:lnTo>
                  <a:lnTo>
                    <a:pt x="12616" y="21156"/>
                  </a:lnTo>
                  <a:close/>
                  <a:moveTo>
                    <a:pt x="12616" y="21156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6FDB9FC5-34FC-4F93-23A4-47EB4235A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94" y="2927925"/>
              <a:ext cx="294028" cy="306680"/>
            </a:xfrm>
            <a:custGeom>
              <a:avLst/>
              <a:gdLst>
                <a:gd name="T0" fmla="*/ 0 w 21600"/>
                <a:gd name="T1" fmla="*/ 156099784 h 21600"/>
                <a:gd name="T2" fmla="*/ 42611879 w 21600"/>
                <a:gd name="T3" fmla="*/ 95406005 h 21600"/>
                <a:gd name="T4" fmla="*/ 67197788 w 21600"/>
                <a:gd name="T5" fmla="*/ 61440249 h 21600"/>
                <a:gd name="T6" fmla="*/ 96277042 w 21600"/>
                <a:gd name="T7" fmla="*/ 0 h 21600"/>
                <a:gd name="T8" fmla="*/ 153057225 w 21600"/>
                <a:gd name="T9" fmla="*/ 6356725 h 21600"/>
                <a:gd name="T10" fmla="*/ 172302444 w 21600"/>
                <a:gd name="T11" fmla="*/ 72219907 h 21600"/>
                <a:gd name="T12" fmla="*/ 166550116 w 21600"/>
                <a:gd name="T13" fmla="*/ 135517355 h 21600"/>
                <a:gd name="T14" fmla="*/ 225609737 w 21600"/>
                <a:gd name="T15" fmla="*/ 95080375 h 21600"/>
                <a:gd name="T16" fmla="*/ 231958530 w 21600"/>
                <a:gd name="T17" fmla="*/ 160675152 h 21600"/>
                <a:gd name="T18" fmla="*/ 216239426 w 21600"/>
                <a:gd name="T19" fmla="*/ 205477842 h 21600"/>
                <a:gd name="T20" fmla="*/ 264841684 w 21600"/>
                <a:gd name="T21" fmla="*/ 231554581 h 21600"/>
                <a:gd name="T22" fmla="*/ 286286801 w 21600"/>
                <a:gd name="T23" fmla="*/ 280933361 h 21600"/>
                <a:gd name="T24" fmla="*/ 282204548 w 21600"/>
                <a:gd name="T25" fmla="*/ 345418131 h 21600"/>
                <a:gd name="T26" fmla="*/ 278267909 w 21600"/>
                <a:gd name="T27" fmla="*/ 413559353 h 21600"/>
                <a:gd name="T28" fmla="*/ 225371141 w 21600"/>
                <a:gd name="T29" fmla="*/ 384284910 h 21600"/>
                <a:gd name="T30" fmla="*/ 160678490 w 21600"/>
                <a:gd name="T31" fmla="*/ 340842040 h 21600"/>
                <a:gd name="T32" fmla="*/ 122082766 w 21600"/>
                <a:gd name="T33" fmla="*/ 286428420 h 21600"/>
                <a:gd name="T34" fmla="*/ 96701554 w 21600"/>
                <a:gd name="T35" fmla="*/ 241606415 h 21600"/>
                <a:gd name="T36" fmla="*/ 48098751 w 21600"/>
                <a:gd name="T37" fmla="*/ 226519741 h 21600"/>
                <a:gd name="T38" fmla="*/ 25222132 w 21600"/>
                <a:gd name="T39" fmla="*/ 189031375 h 21600"/>
                <a:gd name="T40" fmla="*/ 0 w 21600"/>
                <a:gd name="T41" fmla="*/ 156099784 h 21600"/>
                <a:gd name="T42" fmla="*/ 0 w 21600"/>
                <a:gd name="T43" fmla="*/ 156099784 h 216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1600" h="21600">
                  <a:moveTo>
                    <a:pt x="0" y="8153"/>
                  </a:moveTo>
                  <a:lnTo>
                    <a:pt x="3215" y="4983"/>
                  </a:lnTo>
                  <a:lnTo>
                    <a:pt x="5070" y="3209"/>
                  </a:lnTo>
                  <a:lnTo>
                    <a:pt x="7264" y="0"/>
                  </a:lnTo>
                  <a:lnTo>
                    <a:pt x="11548" y="332"/>
                  </a:lnTo>
                  <a:lnTo>
                    <a:pt x="13000" y="3772"/>
                  </a:lnTo>
                  <a:lnTo>
                    <a:pt x="12566" y="7078"/>
                  </a:lnTo>
                  <a:lnTo>
                    <a:pt x="17022" y="4966"/>
                  </a:lnTo>
                  <a:lnTo>
                    <a:pt x="17501" y="8392"/>
                  </a:lnTo>
                  <a:lnTo>
                    <a:pt x="16315" y="10732"/>
                  </a:lnTo>
                  <a:lnTo>
                    <a:pt x="19982" y="12094"/>
                  </a:lnTo>
                  <a:lnTo>
                    <a:pt x="21600" y="14673"/>
                  </a:lnTo>
                  <a:lnTo>
                    <a:pt x="21292" y="18041"/>
                  </a:lnTo>
                  <a:lnTo>
                    <a:pt x="20995" y="21600"/>
                  </a:lnTo>
                  <a:lnTo>
                    <a:pt x="17004" y="20071"/>
                  </a:lnTo>
                  <a:lnTo>
                    <a:pt x="12123" y="17802"/>
                  </a:lnTo>
                  <a:lnTo>
                    <a:pt x="9211" y="14960"/>
                  </a:lnTo>
                  <a:lnTo>
                    <a:pt x="7296" y="12619"/>
                  </a:lnTo>
                  <a:lnTo>
                    <a:pt x="3629" y="11831"/>
                  </a:lnTo>
                  <a:lnTo>
                    <a:pt x="1903" y="9873"/>
                  </a:lnTo>
                  <a:lnTo>
                    <a:pt x="0" y="8153"/>
                  </a:lnTo>
                  <a:close/>
                  <a:moveTo>
                    <a:pt x="0" y="8153"/>
                  </a:moveTo>
                </a:path>
              </a:pathLst>
            </a:custGeom>
            <a:solidFill>
              <a:srgbClr val="FF93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940BE9BA-565B-A547-29F7-9864E23AD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34" y="1545337"/>
              <a:ext cx="662020" cy="449910"/>
            </a:xfrm>
            <a:custGeom>
              <a:avLst/>
              <a:gdLst>
                <a:gd name="T0" fmla="*/ 0 w 21600"/>
                <a:gd name="T1" fmla="*/ 1305742301 h 21600"/>
                <a:gd name="T2" fmla="*/ 16640592 w 21600"/>
                <a:gd name="T3" fmla="*/ 1170755910 h 21600"/>
                <a:gd name="T4" fmla="*/ 96064426 w 21600"/>
                <a:gd name="T5" fmla="*/ 1057348986 h 21600"/>
                <a:gd name="T6" fmla="*/ 314822146 w 21600"/>
                <a:gd name="T7" fmla="*/ 1001551962 h 21600"/>
                <a:gd name="T8" fmla="*/ 440692455 w 21600"/>
                <a:gd name="T9" fmla="*/ 844984572 h 21600"/>
                <a:gd name="T10" fmla="*/ 526924726 w 21600"/>
                <a:gd name="T11" fmla="*/ 729764733 h 21600"/>
                <a:gd name="T12" fmla="*/ 712548966 w 21600"/>
                <a:gd name="T13" fmla="*/ 655954024 h 21600"/>
                <a:gd name="T14" fmla="*/ 970944778 w 21600"/>
                <a:gd name="T15" fmla="*/ 573197344 h 21600"/>
                <a:gd name="T16" fmla="*/ 1010733344 w 21600"/>
                <a:gd name="T17" fmla="*/ 425575964 h 21600"/>
                <a:gd name="T18" fmla="*/ 1212847648 w 21600"/>
                <a:gd name="T19" fmla="*/ 254619188 h 21600"/>
                <a:gd name="T20" fmla="*/ 1454903870 w 21600"/>
                <a:gd name="T21" fmla="*/ 189816106 h 21600"/>
                <a:gd name="T22" fmla="*/ 1693479197 w 21600"/>
                <a:gd name="T23" fmla="*/ 72783314 h 21600"/>
                <a:gd name="T24" fmla="*/ 1816169667 w 21600"/>
                <a:gd name="T25" fmla="*/ 0 h 21600"/>
                <a:gd name="T26" fmla="*/ 2147483647 w 21600"/>
                <a:gd name="T27" fmla="*/ 1149060 h 21600"/>
                <a:gd name="T28" fmla="*/ 2147483647 w 21600"/>
                <a:gd name="T29" fmla="*/ 14568076 h 21600"/>
                <a:gd name="T30" fmla="*/ 2147483647 w 21600"/>
                <a:gd name="T31" fmla="*/ 30225125 h 21600"/>
                <a:gd name="T32" fmla="*/ 2147483647 w 21600"/>
                <a:gd name="T33" fmla="*/ 157898200 h 21600"/>
                <a:gd name="T34" fmla="*/ 2147483647 w 21600"/>
                <a:gd name="T35" fmla="*/ 347170585 h 21600"/>
                <a:gd name="T36" fmla="*/ 2014050704 w 21600"/>
                <a:gd name="T37" fmla="*/ 347170585 h 21600"/>
                <a:gd name="T38" fmla="*/ 1976984905 w 21600"/>
                <a:gd name="T39" fmla="*/ 586858157 h 21600"/>
                <a:gd name="T40" fmla="*/ 1886215594 w 21600"/>
                <a:gd name="T41" fmla="*/ 739617967 h 21600"/>
                <a:gd name="T42" fmla="*/ 1861403822 w 21600"/>
                <a:gd name="T43" fmla="*/ 855019556 h 21600"/>
                <a:gd name="T44" fmla="*/ 1651118284 w 21600"/>
                <a:gd name="T45" fmla="*/ 897576254 h 21600"/>
                <a:gd name="T46" fmla="*/ 1360349890 w 21600"/>
                <a:gd name="T47" fmla="*/ 999497210 h 21600"/>
                <a:gd name="T48" fmla="*/ 1343859826 w 21600"/>
                <a:gd name="T49" fmla="*/ 1157395410 h 21600"/>
                <a:gd name="T50" fmla="*/ 1352181534 w 21600"/>
                <a:gd name="T51" fmla="*/ 1291778033 h 21600"/>
                <a:gd name="T52" fmla="*/ 809825713 w 21600"/>
                <a:gd name="T53" fmla="*/ 1266207664 h 21600"/>
                <a:gd name="T54" fmla="*/ 436606892 w 21600"/>
                <a:gd name="T55" fmla="*/ 1250490568 h 21600"/>
                <a:gd name="T56" fmla="*/ 0 w 21600"/>
                <a:gd name="T57" fmla="*/ 1305742301 h 21600"/>
                <a:gd name="T58" fmla="*/ 0 w 21600"/>
                <a:gd name="T59" fmla="*/ 1305742301 h 2160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110" y="19367"/>
                  </a:lnTo>
                  <a:lnTo>
                    <a:pt x="635" y="17491"/>
                  </a:lnTo>
                  <a:lnTo>
                    <a:pt x="2081" y="16568"/>
                  </a:lnTo>
                  <a:lnTo>
                    <a:pt x="2913" y="13978"/>
                  </a:lnTo>
                  <a:lnTo>
                    <a:pt x="3483" y="12072"/>
                  </a:lnTo>
                  <a:lnTo>
                    <a:pt x="4710" y="10851"/>
                  </a:lnTo>
                  <a:lnTo>
                    <a:pt x="6418" y="9482"/>
                  </a:lnTo>
                  <a:lnTo>
                    <a:pt x="6681" y="7040"/>
                  </a:lnTo>
                  <a:lnTo>
                    <a:pt x="8017" y="4212"/>
                  </a:lnTo>
                  <a:lnTo>
                    <a:pt x="9617" y="3140"/>
                  </a:lnTo>
                  <a:lnTo>
                    <a:pt x="11194" y="1204"/>
                  </a:lnTo>
                  <a:lnTo>
                    <a:pt x="12005" y="0"/>
                  </a:lnTo>
                  <a:lnTo>
                    <a:pt x="16284" y="19"/>
                  </a:lnTo>
                  <a:lnTo>
                    <a:pt x="19924" y="241"/>
                  </a:lnTo>
                  <a:lnTo>
                    <a:pt x="21600" y="500"/>
                  </a:lnTo>
                  <a:lnTo>
                    <a:pt x="21518" y="2612"/>
                  </a:lnTo>
                  <a:lnTo>
                    <a:pt x="20646" y="5743"/>
                  </a:lnTo>
                  <a:lnTo>
                    <a:pt x="13313" y="5743"/>
                  </a:lnTo>
                  <a:lnTo>
                    <a:pt x="13068" y="9708"/>
                  </a:lnTo>
                  <a:lnTo>
                    <a:pt x="12468" y="12235"/>
                  </a:lnTo>
                  <a:lnTo>
                    <a:pt x="12304" y="14144"/>
                  </a:lnTo>
                  <a:lnTo>
                    <a:pt x="10914" y="14848"/>
                  </a:lnTo>
                  <a:lnTo>
                    <a:pt x="8992" y="16534"/>
                  </a:lnTo>
                  <a:lnTo>
                    <a:pt x="8883" y="19146"/>
                  </a:lnTo>
                  <a:lnTo>
                    <a:pt x="8938" y="21369"/>
                  </a:lnTo>
                  <a:lnTo>
                    <a:pt x="5353" y="20946"/>
                  </a:lnTo>
                  <a:lnTo>
                    <a:pt x="2886" y="20686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6DD4B16A-FAF6-4044-4F34-436643EE3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5869" y="939560"/>
              <a:ext cx="262069" cy="497934"/>
            </a:xfrm>
            <a:custGeom>
              <a:avLst/>
              <a:gdLst>
                <a:gd name="T0" fmla="*/ 80953719 w 21600"/>
                <a:gd name="T1" fmla="*/ 1770096062 h 21600"/>
                <a:gd name="T2" fmla="*/ 79705698 w 21600"/>
                <a:gd name="T3" fmla="*/ 1553668870 h 21600"/>
                <a:gd name="T4" fmla="*/ 77734686 w 21600"/>
                <a:gd name="T5" fmla="*/ 1303068486 h 21600"/>
                <a:gd name="T6" fmla="*/ 52151637 w 21600"/>
                <a:gd name="T7" fmla="*/ 1202844924 h 21600"/>
                <a:gd name="T8" fmla="*/ 26568566 w 21600"/>
                <a:gd name="T9" fmla="*/ 1052469969 h 21600"/>
                <a:gd name="T10" fmla="*/ 3932235 w 21600"/>
                <a:gd name="T11" fmla="*/ 956425365 h 21600"/>
                <a:gd name="T12" fmla="*/ 0 w 21600"/>
                <a:gd name="T13" fmla="*/ 793511627 h 21600"/>
                <a:gd name="T14" fmla="*/ 37389100 w 21600"/>
                <a:gd name="T15" fmla="*/ 639036942 h 21600"/>
                <a:gd name="T16" fmla="*/ 49204917 w 21600"/>
                <a:gd name="T17" fmla="*/ 434329767 h 21600"/>
                <a:gd name="T18" fmla="*/ 48219401 w 21600"/>
                <a:gd name="T19" fmla="*/ 271497124 h 21600"/>
                <a:gd name="T20" fmla="*/ 73802472 w 21600"/>
                <a:gd name="T21" fmla="*/ 121120301 h 21600"/>
                <a:gd name="T22" fmla="*/ 102341606 w 21600"/>
                <a:gd name="T23" fmla="*/ 16717783 h 21600"/>
                <a:gd name="T24" fmla="*/ 137769461 w 21600"/>
                <a:gd name="T25" fmla="*/ 0 h 21600"/>
                <a:gd name="T26" fmla="*/ 166299251 w 21600"/>
                <a:gd name="T27" fmla="*/ 70966996 h 21600"/>
                <a:gd name="T28" fmla="*/ 160396468 w 21600"/>
                <a:gd name="T29" fmla="*/ 200447123 h 21600"/>
                <a:gd name="T30" fmla="*/ 198780408 w 21600"/>
                <a:gd name="T31" fmla="*/ 100223561 h 21600"/>
                <a:gd name="T32" fmla="*/ 179090797 w 21600"/>
                <a:gd name="T33" fmla="*/ 242240559 h 21600"/>
                <a:gd name="T34" fmla="*/ 168270263 w 21600"/>
                <a:gd name="T35" fmla="*/ 355002903 h 21600"/>
                <a:gd name="T36" fmla="*/ 185979539 w 21600"/>
                <a:gd name="T37" fmla="*/ 480302161 h 21600"/>
                <a:gd name="T38" fmla="*/ 180076292 w 21600"/>
                <a:gd name="T39" fmla="*/ 613961245 h 21600"/>
                <a:gd name="T40" fmla="*/ 162367037 w 21600"/>
                <a:gd name="T41" fmla="*/ 710005849 h 21600"/>
                <a:gd name="T42" fmla="*/ 132842386 w 21600"/>
                <a:gd name="T43" fmla="*/ 764338111 h 21600"/>
                <a:gd name="T44" fmla="*/ 141701697 w 21600"/>
                <a:gd name="T45" fmla="*/ 914631928 h 21600"/>
                <a:gd name="T46" fmla="*/ 173187993 w 21600"/>
                <a:gd name="T47" fmla="*/ 939707625 h 21600"/>
                <a:gd name="T48" fmla="*/ 202712644 w 21600"/>
                <a:gd name="T49" fmla="*/ 1048291012 h 21600"/>
                <a:gd name="T50" fmla="*/ 198592658 w 21600"/>
                <a:gd name="T51" fmla="*/ 1226692388 h 21600"/>
                <a:gd name="T52" fmla="*/ 165623868 w 21600"/>
                <a:gd name="T53" fmla="*/ 1295693480 h 21600"/>
                <a:gd name="T54" fmla="*/ 126057317 w 21600"/>
                <a:gd name="T55" fmla="*/ 1389034510 h 21600"/>
                <a:gd name="T56" fmla="*/ 128731745 w 21600"/>
                <a:gd name="T57" fmla="*/ 1648402235 h 21600"/>
                <a:gd name="T58" fmla="*/ 80953719 w 21600"/>
                <a:gd name="T59" fmla="*/ 1770096062 h 21600"/>
                <a:gd name="T60" fmla="*/ 80953719 w 21600"/>
                <a:gd name="T61" fmla="*/ 1770096062 h 216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1600" h="21600">
                  <a:moveTo>
                    <a:pt x="8626" y="21600"/>
                  </a:moveTo>
                  <a:lnTo>
                    <a:pt x="8493" y="18959"/>
                  </a:lnTo>
                  <a:lnTo>
                    <a:pt x="8283" y="15901"/>
                  </a:lnTo>
                  <a:lnTo>
                    <a:pt x="5557" y="14678"/>
                  </a:lnTo>
                  <a:lnTo>
                    <a:pt x="2831" y="12843"/>
                  </a:lnTo>
                  <a:lnTo>
                    <a:pt x="419" y="11671"/>
                  </a:lnTo>
                  <a:lnTo>
                    <a:pt x="0" y="9683"/>
                  </a:lnTo>
                  <a:lnTo>
                    <a:pt x="3984" y="7798"/>
                  </a:lnTo>
                  <a:lnTo>
                    <a:pt x="5243" y="5300"/>
                  </a:lnTo>
                  <a:lnTo>
                    <a:pt x="5138" y="3313"/>
                  </a:lnTo>
                  <a:lnTo>
                    <a:pt x="7864" y="1478"/>
                  </a:lnTo>
                  <a:lnTo>
                    <a:pt x="10905" y="204"/>
                  </a:lnTo>
                  <a:lnTo>
                    <a:pt x="14680" y="0"/>
                  </a:lnTo>
                  <a:lnTo>
                    <a:pt x="17720" y="866"/>
                  </a:lnTo>
                  <a:lnTo>
                    <a:pt x="17091" y="2446"/>
                  </a:lnTo>
                  <a:lnTo>
                    <a:pt x="21181" y="1223"/>
                  </a:lnTo>
                  <a:lnTo>
                    <a:pt x="19083" y="2956"/>
                  </a:lnTo>
                  <a:lnTo>
                    <a:pt x="17930" y="4332"/>
                  </a:lnTo>
                  <a:lnTo>
                    <a:pt x="19817" y="5861"/>
                  </a:lnTo>
                  <a:lnTo>
                    <a:pt x="19188" y="7492"/>
                  </a:lnTo>
                  <a:lnTo>
                    <a:pt x="17301" y="8664"/>
                  </a:lnTo>
                  <a:lnTo>
                    <a:pt x="14155" y="9327"/>
                  </a:lnTo>
                  <a:lnTo>
                    <a:pt x="15099" y="11161"/>
                  </a:lnTo>
                  <a:lnTo>
                    <a:pt x="18454" y="11467"/>
                  </a:lnTo>
                  <a:lnTo>
                    <a:pt x="21600" y="12792"/>
                  </a:lnTo>
                  <a:lnTo>
                    <a:pt x="21161" y="14969"/>
                  </a:lnTo>
                  <a:lnTo>
                    <a:pt x="17648" y="15811"/>
                  </a:lnTo>
                  <a:lnTo>
                    <a:pt x="13432" y="16950"/>
                  </a:lnTo>
                  <a:lnTo>
                    <a:pt x="13717" y="20115"/>
                  </a:lnTo>
                  <a:lnTo>
                    <a:pt x="8626" y="21600"/>
                  </a:lnTo>
                  <a:close/>
                  <a:moveTo>
                    <a:pt x="8626" y="21600"/>
                  </a:moveTo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D7AB2FCF-EA6C-BEF6-3526-D12D68BF8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4107" y="2643993"/>
              <a:ext cx="119620" cy="120481"/>
            </a:xfrm>
            <a:custGeom>
              <a:avLst/>
              <a:gdLst>
                <a:gd name="T0" fmla="*/ 17663000 w 21600"/>
                <a:gd name="T1" fmla="*/ 19452774 h 21600"/>
                <a:gd name="T2" fmla="*/ 12820428 w 21600"/>
                <a:gd name="T3" fmla="*/ 24175223 h 21600"/>
                <a:gd name="T4" fmla="*/ 1139705 w 21600"/>
                <a:gd name="T5" fmla="*/ 25074884 h 21600"/>
                <a:gd name="T6" fmla="*/ 0 w 21600"/>
                <a:gd name="T7" fmla="*/ 16191883 h 21600"/>
                <a:gd name="T8" fmla="*/ 2848756 w 21600"/>
                <a:gd name="T9" fmla="*/ 9108215 h 21600"/>
                <a:gd name="T10" fmla="*/ 5032695 w 21600"/>
                <a:gd name="T11" fmla="*/ 1686773 h 21600"/>
                <a:gd name="T12" fmla="*/ 13959208 w 21600"/>
                <a:gd name="T13" fmla="*/ 0 h 21600"/>
                <a:gd name="T14" fmla="*/ 19277496 w 21600"/>
                <a:gd name="T15" fmla="*/ 4160552 h 21600"/>
                <a:gd name="T16" fmla="*/ 14149331 w 21600"/>
                <a:gd name="T17" fmla="*/ 10007887 h 21600"/>
                <a:gd name="T18" fmla="*/ 6837227 w 21600"/>
                <a:gd name="T19" fmla="*/ 15742662 h 21600"/>
                <a:gd name="T20" fmla="*/ 17663000 w 21600"/>
                <a:gd name="T21" fmla="*/ 19452774 h 21600"/>
                <a:gd name="T22" fmla="*/ 17663000 w 21600"/>
                <a:gd name="T23" fmla="*/ 19452774 h 216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600" h="21600">
                  <a:moveTo>
                    <a:pt x="19791" y="16757"/>
                  </a:moveTo>
                  <a:lnTo>
                    <a:pt x="14365" y="20825"/>
                  </a:lnTo>
                  <a:lnTo>
                    <a:pt x="1277" y="21600"/>
                  </a:lnTo>
                  <a:lnTo>
                    <a:pt x="0" y="13948"/>
                  </a:lnTo>
                  <a:lnTo>
                    <a:pt x="3192" y="7846"/>
                  </a:lnTo>
                  <a:lnTo>
                    <a:pt x="5639" y="1453"/>
                  </a:lnTo>
                  <a:lnTo>
                    <a:pt x="15641" y="0"/>
                  </a:lnTo>
                  <a:lnTo>
                    <a:pt x="21600" y="3584"/>
                  </a:lnTo>
                  <a:lnTo>
                    <a:pt x="15854" y="8621"/>
                  </a:lnTo>
                  <a:lnTo>
                    <a:pt x="7661" y="13561"/>
                  </a:lnTo>
                  <a:lnTo>
                    <a:pt x="19791" y="16757"/>
                  </a:lnTo>
                  <a:close/>
                  <a:moveTo>
                    <a:pt x="19791" y="16757"/>
                  </a:moveTo>
                </a:path>
              </a:pathLst>
            </a:custGeom>
            <a:solidFill>
              <a:schemeClr val="bg1">
                <a:lumMod val="50000"/>
              </a:schemeClr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6B5AAE17-3C75-39CD-77CB-BC3A0DDF7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927" y="3633121"/>
              <a:ext cx="158885" cy="126379"/>
            </a:xfrm>
            <a:custGeom>
              <a:avLst/>
              <a:gdLst>
                <a:gd name="T0" fmla="*/ 0 w 21600"/>
                <a:gd name="T1" fmla="*/ 25975502 h 21600"/>
                <a:gd name="T2" fmla="*/ 1840451 w 21600"/>
                <a:gd name="T3" fmla="*/ 13059459 h 21600"/>
                <a:gd name="T4" fmla="*/ 12468617 w 21600"/>
                <a:gd name="T5" fmla="*/ 6070809 h 21600"/>
                <a:gd name="T6" fmla="*/ 24472960 w 21600"/>
                <a:gd name="T7" fmla="*/ 3659066 h 21600"/>
                <a:gd name="T8" fmla="*/ 39242237 w 21600"/>
                <a:gd name="T9" fmla="*/ 0 h 21600"/>
                <a:gd name="T10" fmla="*/ 44163083 w 21600"/>
                <a:gd name="T11" fmla="*/ 8482553 h 21600"/>
                <a:gd name="T12" fmla="*/ 45173261 w 21600"/>
                <a:gd name="T13" fmla="*/ 17314774 h 21600"/>
                <a:gd name="T14" fmla="*/ 24025513 w 21600"/>
                <a:gd name="T15" fmla="*/ 18627835 h 21600"/>
                <a:gd name="T16" fmla="*/ 22461121 w 21600"/>
                <a:gd name="T17" fmla="*/ 28940599 h 21600"/>
                <a:gd name="T18" fmla="*/ 0 w 21600"/>
                <a:gd name="T19" fmla="*/ 25975502 h 21600"/>
                <a:gd name="T20" fmla="*/ 0 w 21600"/>
                <a:gd name="T21" fmla="*/ 25975502 h 2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1600" h="21600">
                  <a:moveTo>
                    <a:pt x="0" y="19387"/>
                  </a:moveTo>
                  <a:lnTo>
                    <a:pt x="880" y="9747"/>
                  </a:lnTo>
                  <a:lnTo>
                    <a:pt x="5962" y="4531"/>
                  </a:lnTo>
                  <a:lnTo>
                    <a:pt x="11702" y="2731"/>
                  </a:lnTo>
                  <a:lnTo>
                    <a:pt x="18764" y="0"/>
                  </a:lnTo>
                  <a:lnTo>
                    <a:pt x="21117" y="6331"/>
                  </a:lnTo>
                  <a:lnTo>
                    <a:pt x="21600" y="12923"/>
                  </a:lnTo>
                  <a:lnTo>
                    <a:pt x="11488" y="13903"/>
                  </a:lnTo>
                  <a:lnTo>
                    <a:pt x="10740" y="21600"/>
                  </a:lnTo>
                  <a:lnTo>
                    <a:pt x="0" y="19387"/>
                  </a:lnTo>
                  <a:close/>
                  <a:moveTo>
                    <a:pt x="0" y="19387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90E7E77E-4987-BA2D-7A83-1894458E5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884" y="3708948"/>
              <a:ext cx="149754" cy="154182"/>
            </a:xfrm>
            <a:custGeom>
              <a:avLst/>
              <a:gdLst>
                <a:gd name="T0" fmla="*/ 5810204 w 21600"/>
                <a:gd name="T1" fmla="*/ 52142640 h 21600"/>
                <a:gd name="T2" fmla="*/ 2411227 w 21600"/>
                <a:gd name="T3" fmla="*/ 34172953 h 21600"/>
                <a:gd name="T4" fmla="*/ 0 w 21600"/>
                <a:gd name="T5" fmla="*/ 14295934 h 21600"/>
                <a:gd name="T6" fmla="*/ 16773808 w 21600"/>
                <a:gd name="T7" fmla="*/ 16745946 h 21600"/>
                <a:gd name="T8" fmla="*/ 18528362 w 21600"/>
                <a:gd name="T9" fmla="*/ 2450011 h 21600"/>
                <a:gd name="T10" fmla="*/ 37823805 w 21600"/>
                <a:gd name="T11" fmla="*/ 0 h 21600"/>
                <a:gd name="T12" fmla="*/ 30477981 w 21600"/>
                <a:gd name="T13" fmla="*/ 11164686 h 21600"/>
                <a:gd name="T14" fmla="*/ 34424972 w 21600"/>
                <a:gd name="T15" fmla="*/ 27774427 h 21600"/>
                <a:gd name="T16" fmla="*/ 30588256 w 21600"/>
                <a:gd name="T17" fmla="*/ 41114159 h 21600"/>
                <a:gd name="T18" fmla="*/ 21158524 w 21600"/>
                <a:gd name="T19" fmla="*/ 52551455 h 21600"/>
                <a:gd name="T20" fmla="*/ 5810204 w 21600"/>
                <a:gd name="T21" fmla="*/ 52142640 h 21600"/>
                <a:gd name="T22" fmla="*/ 5810204 w 21600"/>
                <a:gd name="T23" fmla="*/ 52142640 h 216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600" h="21600">
                  <a:moveTo>
                    <a:pt x="3318" y="21432"/>
                  </a:moveTo>
                  <a:lnTo>
                    <a:pt x="1377" y="14046"/>
                  </a:lnTo>
                  <a:lnTo>
                    <a:pt x="0" y="5876"/>
                  </a:lnTo>
                  <a:lnTo>
                    <a:pt x="9579" y="6883"/>
                  </a:lnTo>
                  <a:lnTo>
                    <a:pt x="10581" y="1007"/>
                  </a:lnTo>
                  <a:lnTo>
                    <a:pt x="21600" y="0"/>
                  </a:lnTo>
                  <a:lnTo>
                    <a:pt x="17405" y="4589"/>
                  </a:lnTo>
                  <a:lnTo>
                    <a:pt x="19659" y="11416"/>
                  </a:lnTo>
                  <a:lnTo>
                    <a:pt x="17468" y="16899"/>
                  </a:lnTo>
                  <a:lnTo>
                    <a:pt x="12083" y="21600"/>
                  </a:lnTo>
                  <a:lnTo>
                    <a:pt x="3318" y="21432"/>
                  </a:lnTo>
                  <a:close/>
                  <a:moveTo>
                    <a:pt x="3318" y="21432"/>
                  </a:moveTo>
                </a:path>
              </a:pathLst>
            </a:custGeom>
            <a:solidFill>
              <a:srgbClr val="FF93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D5C16CE1-4A0A-06FA-B940-6B219CF2E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7829" y="3382890"/>
              <a:ext cx="131491" cy="98576"/>
            </a:xfrm>
            <a:custGeom>
              <a:avLst/>
              <a:gdLst>
                <a:gd name="T0" fmla="*/ 0 w 21600"/>
                <a:gd name="T1" fmla="*/ 13733932 h 21600"/>
                <a:gd name="T2" fmla="*/ 25076118 w 21600"/>
                <a:gd name="T3" fmla="*/ 13387436 h 21600"/>
                <a:gd name="T4" fmla="*/ 25604788 w 21600"/>
                <a:gd name="T5" fmla="*/ 555090 h 21600"/>
                <a:gd name="T6" fmla="*/ 4655122 w 21600"/>
                <a:gd name="T7" fmla="*/ 0 h 21600"/>
                <a:gd name="T8" fmla="*/ 1692762 w 21600"/>
                <a:gd name="T9" fmla="*/ 5826739 h 21600"/>
                <a:gd name="T10" fmla="*/ 0 w 21600"/>
                <a:gd name="T11" fmla="*/ 13733932 h 21600"/>
                <a:gd name="T12" fmla="*/ 0 w 21600"/>
                <a:gd name="T13" fmla="*/ 13733932 h 216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154" y="21055"/>
                  </a:lnTo>
                  <a:lnTo>
                    <a:pt x="21600" y="873"/>
                  </a:lnTo>
                  <a:lnTo>
                    <a:pt x="3927" y="0"/>
                  </a:lnTo>
                  <a:lnTo>
                    <a:pt x="1428" y="9164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5AF91E49-4C5B-C69A-2519-2AD12E200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368" y="2760262"/>
              <a:ext cx="123273" cy="347121"/>
            </a:xfrm>
            <a:custGeom>
              <a:avLst/>
              <a:gdLst>
                <a:gd name="T0" fmla="*/ 21097845 w 21600"/>
                <a:gd name="T1" fmla="*/ 598772026 h 21600"/>
                <a:gd name="T2" fmla="*/ 20698359 w 21600"/>
                <a:gd name="T3" fmla="*/ 485858681 h 21600"/>
                <a:gd name="T4" fmla="*/ 20698359 w 21600"/>
                <a:gd name="T5" fmla="*/ 373888803 h 21600"/>
                <a:gd name="T6" fmla="*/ 19098443 w 21600"/>
                <a:gd name="T7" fmla="*/ 274857064 h 21600"/>
                <a:gd name="T8" fmla="*/ 18798584 w 21600"/>
                <a:gd name="T9" fmla="*/ 200812275 h 21600"/>
                <a:gd name="T10" fmla="*/ 17998631 w 21600"/>
                <a:gd name="T11" fmla="*/ 134180477 h 21600"/>
                <a:gd name="T12" fmla="*/ 10898640 w 21600"/>
                <a:gd name="T13" fmla="*/ 88842397 h 21600"/>
                <a:gd name="T14" fmla="*/ 13325784 w 21600"/>
                <a:gd name="T15" fmla="*/ 83422 h 21600"/>
                <a:gd name="T16" fmla="*/ 399485 w 21600"/>
                <a:gd name="T17" fmla="*/ 0 h 21600"/>
                <a:gd name="T18" fmla="*/ 0 w 21600"/>
                <a:gd name="T19" fmla="*/ 61995098 h 21600"/>
                <a:gd name="T20" fmla="*/ 5999176 w 21600"/>
                <a:gd name="T21" fmla="*/ 121242308 h 21600"/>
                <a:gd name="T22" fmla="*/ 3699925 w 21600"/>
                <a:gd name="T23" fmla="*/ 203588596 h 21600"/>
                <a:gd name="T24" fmla="*/ 6199420 w 21600"/>
                <a:gd name="T25" fmla="*/ 315585968 h 21600"/>
                <a:gd name="T26" fmla="*/ 6299046 w 21600"/>
                <a:gd name="T27" fmla="*/ 408120660 h 21600"/>
                <a:gd name="T28" fmla="*/ 6499280 w 21600"/>
                <a:gd name="T29" fmla="*/ 534916549 h 21600"/>
                <a:gd name="T30" fmla="*/ 11698603 w 21600"/>
                <a:gd name="T31" fmla="*/ 599687998 h 21600"/>
                <a:gd name="T32" fmla="*/ 21097845 w 21600"/>
                <a:gd name="T33" fmla="*/ 598772026 h 21600"/>
                <a:gd name="T34" fmla="*/ 21097845 w 21600"/>
                <a:gd name="T35" fmla="*/ 598772026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1600" h="21600">
                  <a:moveTo>
                    <a:pt x="21600" y="21567"/>
                  </a:moveTo>
                  <a:lnTo>
                    <a:pt x="21191" y="17500"/>
                  </a:lnTo>
                  <a:lnTo>
                    <a:pt x="21191" y="13467"/>
                  </a:lnTo>
                  <a:lnTo>
                    <a:pt x="19553" y="9900"/>
                  </a:lnTo>
                  <a:lnTo>
                    <a:pt x="19246" y="7233"/>
                  </a:lnTo>
                  <a:lnTo>
                    <a:pt x="18427" y="4833"/>
                  </a:lnTo>
                  <a:lnTo>
                    <a:pt x="11158" y="3200"/>
                  </a:lnTo>
                  <a:lnTo>
                    <a:pt x="13643" y="3"/>
                  </a:lnTo>
                  <a:lnTo>
                    <a:pt x="409" y="0"/>
                  </a:lnTo>
                  <a:lnTo>
                    <a:pt x="0" y="2233"/>
                  </a:lnTo>
                  <a:lnTo>
                    <a:pt x="6142" y="4367"/>
                  </a:lnTo>
                  <a:lnTo>
                    <a:pt x="3788" y="7333"/>
                  </a:lnTo>
                  <a:lnTo>
                    <a:pt x="6347" y="11367"/>
                  </a:lnTo>
                  <a:lnTo>
                    <a:pt x="6449" y="14700"/>
                  </a:lnTo>
                  <a:lnTo>
                    <a:pt x="6654" y="19267"/>
                  </a:lnTo>
                  <a:lnTo>
                    <a:pt x="11977" y="21600"/>
                  </a:lnTo>
                  <a:lnTo>
                    <a:pt x="21600" y="21567"/>
                  </a:lnTo>
                  <a:close/>
                  <a:moveTo>
                    <a:pt x="21600" y="21567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C10FD902-4405-3DF4-DCB6-05C60DF86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795" y="2811656"/>
              <a:ext cx="231022" cy="230010"/>
            </a:xfrm>
            <a:custGeom>
              <a:avLst/>
              <a:gdLst>
                <a:gd name="T0" fmla="*/ 75720233 w 21600"/>
                <a:gd name="T1" fmla="*/ 174470953 h 21600"/>
                <a:gd name="T2" fmla="*/ 101249601 w 21600"/>
                <a:gd name="T3" fmla="*/ 146337431 h 21600"/>
                <a:gd name="T4" fmla="*/ 117617666 w 21600"/>
                <a:gd name="T5" fmla="*/ 118357701 h 21600"/>
                <a:gd name="T6" fmla="*/ 138865268 w 21600"/>
                <a:gd name="T7" fmla="*/ 92913792 h 21600"/>
                <a:gd name="T8" fmla="*/ 117019859 w 21600"/>
                <a:gd name="T9" fmla="*/ 82461758 h 21600"/>
                <a:gd name="T10" fmla="*/ 115933171 w 21600"/>
                <a:gd name="T11" fmla="*/ 39215595 h 21600"/>
                <a:gd name="T12" fmla="*/ 100349618 w 21600"/>
                <a:gd name="T13" fmla="*/ 2818828 h 21600"/>
                <a:gd name="T14" fmla="*/ 64958128 w 21600"/>
                <a:gd name="T15" fmla="*/ 0 h 21600"/>
                <a:gd name="T16" fmla="*/ 40354347 w 21600"/>
                <a:gd name="T17" fmla="*/ 7027346 h 21600"/>
                <a:gd name="T18" fmla="*/ 27232848 w 21600"/>
                <a:gd name="T19" fmla="*/ 39942643 h 21600"/>
                <a:gd name="T20" fmla="*/ 0 w 21600"/>
                <a:gd name="T21" fmla="*/ 50047265 h 21600"/>
                <a:gd name="T22" fmla="*/ 2995915 w 21600"/>
                <a:gd name="T23" fmla="*/ 93261205 h 21600"/>
                <a:gd name="T24" fmla="*/ 17647335 w 21600"/>
                <a:gd name="T25" fmla="*/ 128381404 h 21600"/>
                <a:gd name="T26" fmla="*/ 40990868 w 21600"/>
                <a:gd name="T27" fmla="*/ 155909046 h 21600"/>
                <a:gd name="T28" fmla="*/ 75720233 w 21600"/>
                <a:gd name="T29" fmla="*/ 174470953 h 21600"/>
                <a:gd name="T30" fmla="*/ 75720233 w 21600"/>
                <a:gd name="T31" fmla="*/ 174470953 h 216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1600" h="21600">
                  <a:moveTo>
                    <a:pt x="11778" y="21600"/>
                  </a:moveTo>
                  <a:lnTo>
                    <a:pt x="15749" y="18117"/>
                  </a:lnTo>
                  <a:lnTo>
                    <a:pt x="18295" y="14653"/>
                  </a:lnTo>
                  <a:lnTo>
                    <a:pt x="21600" y="11503"/>
                  </a:lnTo>
                  <a:lnTo>
                    <a:pt x="18202" y="10209"/>
                  </a:lnTo>
                  <a:lnTo>
                    <a:pt x="18033" y="4855"/>
                  </a:lnTo>
                  <a:lnTo>
                    <a:pt x="15609" y="349"/>
                  </a:lnTo>
                  <a:lnTo>
                    <a:pt x="10104" y="0"/>
                  </a:lnTo>
                  <a:lnTo>
                    <a:pt x="6277" y="870"/>
                  </a:lnTo>
                  <a:lnTo>
                    <a:pt x="4236" y="4945"/>
                  </a:lnTo>
                  <a:lnTo>
                    <a:pt x="0" y="6196"/>
                  </a:lnTo>
                  <a:lnTo>
                    <a:pt x="466" y="11546"/>
                  </a:lnTo>
                  <a:lnTo>
                    <a:pt x="2745" y="15894"/>
                  </a:lnTo>
                  <a:lnTo>
                    <a:pt x="6376" y="19302"/>
                  </a:lnTo>
                  <a:lnTo>
                    <a:pt x="11778" y="21600"/>
                  </a:lnTo>
                  <a:close/>
                  <a:moveTo>
                    <a:pt x="11778" y="21600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4AA81F82-3800-187C-06DC-B79F45346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17" y="2614505"/>
              <a:ext cx="228283" cy="123852"/>
            </a:xfrm>
            <a:custGeom>
              <a:avLst/>
              <a:gdLst>
                <a:gd name="T0" fmla="*/ 66496020 w 21600"/>
                <a:gd name="T1" fmla="*/ 27238832 h 21600"/>
                <a:gd name="T2" fmla="*/ 88255905 w 21600"/>
                <a:gd name="T3" fmla="*/ 18043163 h 21600"/>
                <a:gd name="T4" fmla="*/ 120418196 w 21600"/>
                <a:gd name="T5" fmla="*/ 16706446 h 21600"/>
                <a:gd name="T6" fmla="*/ 117515202 w 21600"/>
                <a:gd name="T7" fmla="*/ 8764380 h 21600"/>
                <a:gd name="T8" fmla="*/ 133984247 w 21600"/>
                <a:gd name="T9" fmla="*/ 144966 h 21600"/>
                <a:gd name="T10" fmla="*/ 101573817 w 21600"/>
                <a:gd name="T11" fmla="*/ 0 h 21600"/>
                <a:gd name="T12" fmla="*/ 63350951 w 21600"/>
                <a:gd name="T13" fmla="*/ 572528 h 21600"/>
                <a:gd name="T14" fmla="*/ 36268844 w 21600"/>
                <a:gd name="T15" fmla="*/ 4417497 h 21600"/>
                <a:gd name="T16" fmla="*/ 0 w 21600"/>
                <a:gd name="T17" fmla="*/ 5838721 h 21600"/>
                <a:gd name="T18" fmla="*/ 16927840 w 21600"/>
                <a:gd name="T19" fmla="*/ 12275175 h 21600"/>
                <a:gd name="T20" fmla="*/ 55857639 w 21600"/>
                <a:gd name="T21" fmla="*/ 12359564 h 21600"/>
                <a:gd name="T22" fmla="*/ 37962233 w 21600"/>
                <a:gd name="T23" fmla="*/ 20885600 h 21600"/>
                <a:gd name="T24" fmla="*/ 66496020 w 21600"/>
                <a:gd name="T25" fmla="*/ 27238832 h 21600"/>
                <a:gd name="T26" fmla="*/ 66496020 w 21600"/>
                <a:gd name="T27" fmla="*/ 27238832 h 216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600" h="21600">
                  <a:moveTo>
                    <a:pt x="10720" y="21600"/>
                  </a:moveTo>
                  <a:lnTo>
                    <a:pt x="14228" y="14308"/>
                  </a:lnTo>
                  <a:lnTo>
                    <a:pt x="19413" y="13248"/>
                  </a:lnTo>
                  <a:lnTo>
                    <a:pt x="18945" y="6950"/>
                  </a:lnTo>
                  <a:lnTo>
                    <a:pt x="21600" y="115"/>
                  </a:lnTo>
                  <a:lnTo>
                    <a:pt x="16375" y="0"/>
                  </a:lnTo>
                  <a:lnTo>
                    <a:pt x="10213" y="454"/>
                  </a:lnTo>
                  <a:lnTo>
                    <a:pt x="5847" y="3503"/>
                  </a:lnTo>
                  <a:lnTo>
                    <a:pt x="0" y="4630"/>
                  </a:lnTo>
                  <a:lnTo>
                    <a:pt x="2729" y="9734"/>
                  </a:lnTo>
                  <a:lnTo>
                    <a:pt x="9005" y="9801"/>
                  </a:lnTo>
                  <a:lnTo>
                    <a:pt x="6120" y="16562"/>
                  </a:lnTo>
                  <a:lnTo>
                    <a:pt x="10720" y="21600"/>
                  </a:lnTo>
                  <a:close/>
                  <a:moveTo>
                    <a:pt x="10720" y="21600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9C70B4E-1CF4-F916-7FF3-D67D4DD47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18" y="2528567"/>
              <a:ext cx="213672" cy="54765"/>
            </a:xfrm>
            <a:custGeom>
              <a:avLst/>
              <a:gdLst>
                <a:gd name="T0" fmla="*/ 0 w 21600"/>
                <a:gd name="T1" fmla="*/ 2354941 h 21600"/>
                <a:gd name="T2" fmla="*/ 25585736 w 21600"/>
                <a:gd name="T3" fmla="*/ 2078775 h 21600"/>
                <a:gd name="T4" fmla="*/ 54747022 w 21600"/>
                <a:gd name="T5" fmla="*/ 1540840 h 21600"/>
                <a:gd name="T6" fmla="*/ 82026616 w 21600"/>
                <a:gd name="T7" fmla="*/ 1715290 h 21600"/>
                <a:gd name="T8" fmla="*/ 109870542 w 21600"/>
                <a:gd name="T9" fmla="*/ 1933332 h 21600"/>
                <a:gd name="T10" fmla="*/ 97454196 w 21600"/>
                <a:gd name="T11" fmla="*/ 683262 h 21600"/>
                <a:gd name="T12" fmla="*/ 72621471 w 21600"/>
                <a:gd name="T13" fmla="*/ 0 h 21600"/>
                <a:gd name="T14" fmla="*/ 44965656 w 21600"/>
                <a:gd name="T15" fmla="*/ 174450 h 21600"/>
                <a:gd name="T16" fmla="*/ 12228252 w 21600"/>
                <a:gd name="T17" fmla="*/ 668658 h 21600"/>
                <a:gd name="T18" fmla="*/ 0 w 21600"/>
                <a:gd name="T19" fmla="*/ 2354941 h 21600"/>
                <a:gd name="T20" fmla="*/ 0 w 21600"/>
                <a:gd name="T21" fmla="*/ 2354941 h 2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5030" y="19067"/>
                  </a:lnTo>
                  <a:lnTo>
                    <a:pt x="10763" y="14133"/>
                  </a:lnTo>
                  <a:lnTo>
                    <a:pt x="16126" y="15733"/>
                  </a:lnTo>
                  <a:lnTo>
                    <a:pt x="21600" y="17733"/>
                  </a:lnTo>
                  <a:lnTo>
                    <a:pt x="19159" y="6267"/>
                  </a:lnTo>
                  <a:lnTo>
                    <a:pt x="14277" y="0"/>
                  </a:lnTo>
                  <a:lnTo>
                    <a:pt x="8840" y="1600"/>
                  </a:lnTo>
                  <a:lnTo>
                    <a:pt x="2404" y="6133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A87AF6B2-E872-26A8-2948-2D4F11D6A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8083" y="5560824"/>
              <a:ext cx="169842" cy="139016"/>
            </a:xfrm>
            <a:custGeom>
              <a:avLst/>
              <a:gdLst>
                <a:gd name="T0" fmla="*/ 10861978 w 21600"/>
                <a:gd name="T1" fmla="*/ 38519715 h 21600"/>
                <a:gd name="T2" fmla="*/ 0 w 21600"/>
                <a:gd name="T3" fmla="*/ 21248293 h 21600"/>
                <a:gd name="T4" fmla="*/ 13613298 w 21600"/>
                <a:gd name="T5" fmla="*/ 9658418 h 21600"/>
                <a:gd name="T6" fmla="*/ 23172594 w 21600"/>
                <a:gd name="T7" fmla="*/ 2271891 h 21600"/>
                <a:gd name="T8" fmla="*/ 37508906 w 21600"/>
                <a:gd name="T9" fmla="*/ 0 h 21600"/>
                <a:gd name="T10" fmla="*/ 48227922 w 21600"/>
                <a:gd name="T11" fmla="*/ 6136396 h 21600"/>
                <a:gd name="T12" fmla="*/ 55178832 w 21600"/>
                <a:gd name="T13" fmla="*/ 17385535 h 21600"/>
                <a:gd name="T14" fmla="*/ 46053837 w 21600"/>
                <a:gd name="T15" fmla="*/ 24884427 h 21600"/>
                <a:gd name="T16" fmla="*/ 30269078 w 21600"/>
                <a:gd name="T17" fmla="*/ 30225541 h 21600"/>
                <a:gd name="T18" fmla="*/ 10861978 w 21600"/>
                <a:gd name="T19" fmla="*/ 38519715 h 21600"/>
                <a:gd name="T20" fmla="*/ 10861978 w 21600"/>
                <a:gd name="T21" fmla="*/ 38519715 h 2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1600" h="21600">
                  <a:moveTo>
                    <a:pt x="4252" y="21600"/>
                  </a:moveTo>
                  <a:lnTo>
                    <a:pt x="0" y="11915"/>
                  </a:lnTo>
                  <a:lnTo>
                    <a:pt x="5329" y="5416"/>
                  </a:lnTo>
                  <a:lnTo>
                    <a:pt x="9071" y="1274"/>
                  </a:lnTo>
                  <a:lnTo>
                    <a:pt x="14683" y="0"/>
                  </a:lnTo>
                  <a:lnTo>
                    <a:pt x="18879" y="3441"/>
                  </a:lnTo>
                  <a:lnTo>
                    <a:pt x="21600" y="9749"/>
                  </a:lnTo>
                  <a:lnTo>
                    <a:pt x="18028" y="13954"/>
                  </a:lnTo>
                  <a:lnTo>
                    <a:pt x="11849" y="16949"/>
                  </a:lnTo>
                  <a:lnTo>
                    <a:pt x="4252" y="21600"/>
                  </a:lnTo>
                  <a:close/>
                  <a:moveTo>
                    <a:pt x="4252" y="21600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6920CCB6-D942-58A3-CAC3-FBC0BC72A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9238" y="5368727"/>
              <a:ext cx="119620" cy="111214"/>
            </a:xfrm>
            <a:custGeom>
              <a:avLst/>
              <a:gdLst>
                <a:gd name="T0" fmla="*/ 0 w 21600"/>
                <a:gd name="T1" fmla="*/ 14504925 h 21600"/>
                <a:gd name="T2" fmla="*/ 2261521 w 21600"/>
                <a:gd name="T3" fmla="*/ 6260850 h 21600"/>
                <a:gd name="T4" fmla="*/ 8840026 w 21600"/>
                <a:gd name="T5" fmla="*/ 0 h 21600"/>
                <a:gd name="T6" fmla="*/ 19277496 w 21600"/>
                <a:gd name="T7" fmla="*/ 1130348 h 21600"/>
                <a:gd name="T8" fmla="*/ 18868704 w 21600"/>
                <a:gd name="T9" fmla="*/ 11320201 h 21600"/>
                <a:gd name="T10" fmla="*/ 15418444 w 21600"/>
                <a:gd name="T11" fmla="*/ 19722206 h 21600"/>
                <a:gd name="T12" fmla="*/ 7503989 w 21600"/>
                <a:gd name="T13" fmla="*/ 18574454 h 21600"/>
                <a:gd name="T14" fmla="*/ 0 w 21600"/>
                <a:gd name="T15" fmla="*/ 14504925 h 21600"/>
                <a:gd name="T16" fmla="*/ 0 w 21600"/>
                <a:gd name="T17" fmla="*/ 14504925 h 216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600" h="21600">
                  <a:moveTo>
                    <a:pt x="0" y="15886"/>
                  </a:moveTo>
                  <a:lnTo>
                    <a:pt x="2534" y="6857"/>
                  </a:lnTo>
                  <a:lnTo>
                    <a:pt x="9905" y="0"/>
                  </a:lnTo>
                  <a:lnTo>
                    <a:pt x="21600" y="1238"/>
                  </a:lnTo>
                  <a:lnTo>
                    <a:pt x="21142" y="12398"/>
                  </a:lnTo>
                  <a:lnTo>
                    <a:pt x="17276" y="21600"/>
                  </a:lnTo>
                  <a:lnTo>
                    <a:pt x="8408" y="20343"/>
                  </a:lnTo>
                  <a:lnTo>
                    <a:pt x="0" y="15886"/>
                  </a:lnTo>
                  <a:close/>
                  <a:moveTo>
                    <a:pt x="0" y="15886"/>
                  </a:moveTo>
                </a:path>
              </a:pathLst>
            </a:custGeom>
            <a:solidFill>
              <a:srgbClr val="DBFFE5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4CDFF25C-3BA8-3930-2DA5-F604C8261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046" y="3956651"/>
              <a:ext cx="28307" cy="74143"/>
            </a:xfrm>
            <a:custGeom>
              <a:avLst/>
              <a:gdLst>
                <a:gd name="T0" fmla="*/ 255449 w 21600"/>
                <a:gd name="T1" fmla="*/ 5843619 h 21600"/>
                <a:gd name="T2" fmla="*/ 243470 w 21600"/>
                <a:gd name="T3" fmla="*/ 2711862 h 21600"/>
                <a:gd name="T4" fmla="*/ 99793 w 21600"/>
                <a:gd name="T5" fmla="*/ 0 h 21600"/>
                <a:gd name="T6" fmla="*/ 0 w 21600"/>
                <a:gd name="T7" fmla="*/ 4035610 h 21600"/>
                <a:gd name="T8" fmla="*/ 255449 w 21600"/>
                <a:gd name="T9" fmla="*/ 5843619 h 21600"/>
                <a:gd name="T10" fmla="*/ 255449 w 21600"/>
                <a:gd name="T11" fmla="*/ 5843619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20587" y="10024"/>
                  </a:lnTo>
                  <a:lnTo>
                    <a:pt x="8438" y="0"/>
                  </a:lnTo>
                  <a:lnTo>
                    <a:pt x="0" y="14917"/>
                  </a:lnTo>
                  <a:lnTo>
                    <a:pt x="21600" y="21600"/>
                  </a:lnTo>
                  <a:close/>
                  <a:moveTo>
                    <a:pt x="21600" y="21600"/>
                  </a:moveTo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24788E-475E-A512-2BE8-03A83C11F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5266" y="3895990"/>
              <a:ext cx="39265" cy="60662"/>
            </a:xfrm>
            <a:custGeom>
              <a:avLst/>
              <a:gdLst>
                <a:gd name="T0" fmla="*/ 161756 w 21600"/>
                <a:gd name="T1" fmla="*/ 3200601 h 21600"/>
                <a:gd name="T2" fmla="*/ 681757 w 21600"/>
                <a:gd name="T3" fmla="*/ 0 h 21600"/>
                <a:gd name="T4" fmla="*/ 0 w 21600"/>
                <a:gd name="T5" fmla="*/ 1002268 h 21600"/>
                <a:gd name="T6" fmla="*/ 161756 w 21600"/>
                <a:gd name="T7" fmla="*/ 3200601 h 21600"/>
                <a:gd name="T8" fmla="*/ 161756 w 21600"/>
                <a:gd name="T9" fmla="*/ 3200601 h 21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600" h="21600">
                  <a:moveTo>
                    <a:pt x="5125" y="21600"/>
                  </a:moveTo>
                  <a:lnTo>
                    <a:pt x="21600" y="0"/>
                  </a:lnTo>
                  <a:lnTo>
                    <a:pt x="0" y="6764"/>
                  </a:lnTo>
                  <a:lnTo>
                    <a:pt x="5125" y="21600"/>
                  </a:lnTo>
                  <a:close/>
                  <a:moveTo>
                    <a:pt x="5125" y="21600"/>
                  </a:moveTo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4FC5660-43C4-45F1-8733-C8008502A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6377" y="4359380"/>
              <a:ext cx="25568" cy="68245"/>
            </a:xfrm>
            <a:custGeom>
              <a:avLst/>
              <a:gdLst>
                <a:gd name="T0" fmla="*/ 121015 w 21600"/>
                <a:gd name="T1" fmla="*/ 4557052 h 21600"/>
                <a:gd name="T2" fmla="*/ 188238 w 21600"/>
                <a:gd name="T3" fmla="*/ 0 h 21600"/>
                <a:gd name="T4" fmla="*/ 0 w 21600"/>
                <a:gd name="T5" fmla="*/ 2525592 h 21600"/>
                <a:gd name="T6" fmla="*/ 121015 w 21600"/>
                <a:gd name="T7" fmla="*/ 4557052 h 21600"/>
                <a:gd name="T8" fmla="*/ 121015 w 21600"/>
                <a:gd name="T9" fmla="*/ 4557052 h 21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600" h="21600">
                  <a:moveTo>
                    <a:pt x="13886" y="21600"/>
                  </a:moveTo>
                  <a:lnTo>
                    <a:pt x="21600" y="0"/>
                  </a:lnTo>
                  <a:lnTo>
                    <a:pt x="0" y="11971"/>
                  </a:lnTo>
                  <a:lnTo>
                    <a:pt x="13886" y="21600"/>
                  </a:lnTo>
                  <a:close/>
                  <a:moveTo>
                    <a:pt x="13886" y="21600"/>
                  </a:moveTo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C28204DA-6BB8-D785-50F7-B47C7A156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9587" y="3869028"/>
              <a:ext cx="103183" cy="100261"/>
            </a:xfrm>
            <a:custGeom>
              <a:avLst/>
              <a:gdLst>
                <a:gd name="T0" fmla="*/ 1755069 w 21600"/>
                <a:gd name="T1" fmla="*/ 14450106 h 21600"/>
                <a:gd name="T2" fmla="*/ 4475407 w 21600"/>
                <a:gd name="T3" fmla="*/ 10358596 h 21600"/>
                <a:gd name="T4" fmla="*/ 4826540 w 21600"/>
                <a:gd name="T5" fmla="*/ 5389345 h 21600"/>
                <a:gd name="T6" fmla="*/ 12372728 w 21600"/>
                <a:gd name="T7" fmla="*/ 2223066 h 21600"/>
                <a:gd name="T8" fmla="*/ 6377108 w 21600"/>
                <a:gd name="T9" fmla="*/ 0 h 21600"/>
                <a:gd name="T10" fmla="*/ 0 w 21600"/>
                <a:gd name="T11" fmla="*/ 5194669 h 21600"/>
                <a:gd name="T12" fmla="*/ 1755069 w 21600"/>
                <a:gd name="T13" fmla="*/ 14450106 h 21600"/>
                <a:gd name="T14" fmla="*/ 1755069 w 21600"/>
                <a:gd name="T15" fmla="*/ 14450106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600" h="21600">
                  <a:moveTo>
                    <a:pt x="3064" y="21600"/>
                  </a:moveTo>
                  <a:lnTo>
                    <a:pt x="7813" y="15484"/>
                  </a:lnTo>
                  <a:lnTo>
                    <a:pt x="8426" y="8056"/>
                  </a:lnTo>
                  <a:lnTo>
                    <a:pt x="21600" y="3323"/>
                  </a:lnTo>
                  <a:lnTo>
                    <a:pt x="11133" y="0"/>
                  </a:lnTo>
                  <a:lnTo>
                    <a:pt x="0" y="7765"/>
                  </a:lnTo>
                  <a:lnTo>
                    <a:pt x="3064" y="21600"/>
                  </a:lnTo>
                  <a:close/>
                  <a:moveTo>
                    <a:pt x="3064" y="21600"/>
                  </a:moveTo>
                </a:path>
              </a:pathLst>
            </a:custGeom>
            <a:solidFill>
              <a:schemeClr val="bg1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079E29D3-D8EC-3D78-DE62-F38322153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0757" y="2675167"/>
              <a:ext cx="942351" cy="625998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689919875 w 21600"/>
                <a:gd name="T9" fmla="*/ 2090633605 h 21600"/>
                <a:gd name="T10" fmla="*/ 1455608237 w 21600"/>
                <a:gd name="T11" fmla="*/ 1958086651 h 21600"/>
                <a:gd name="T12" fmla="*/ 908885076 w 21600"/>
                <a:gd name="T13" fmla="*/ 1713183438 h 21600"/>
                <a:gd name="T14" fmla="*/ 449857536 w 21600"/>
                <a:gd name="T15" fmla="*/ 1531133416 h 21600"/>
                <a:gd name="T16" fmla="*/ 0 w 21600"/>
                <a:gd name="T17" fmla="*/ 1453462976 h 21600"/>
                <a:gd name="T18" fmla="*/ 0 w 21600"/>
                <a:gd name="T19" fmla="*/ 1076173846 h 21600"/>
                <a:gd name="T20" fmla="*/ 299761192 w 21600"/>
                <a:gd name="T21" fmla="*/ 932065971 h 21600"/>
                <a:gd name="T22" fmla="*/ 728241340 w 21600"/>
                <a:gd name="T23" fmla="*/ 920994057 h 21600"/>
                <a:gd name="T24" fmla="*/ 942481376 w 21600"/>
                <a:gd name="T25" fmla="*/ 754414276 h 21600"/>
                <a:gd name="T26" fmla="*/ 1499243220 w 21600"/>
                <a:gd name="T27" fmla="*/ 754414276 h 21600"/>
                <a:gd name="T28" fmla="*/ 1756243872 w 21600"/>
                <a:gd name="T29" fmla="*/ 987428543 h 21600"/>
                <a:gd name="T30" fmla="*/ 2147483647 w 21600"/>
                <a:gd name="T31" fmla="*/ 1109556575 h 21600"/>
                <a:gd name="T32" fmla="*/ 2147483647 w 21600"/>
                <a:gd name="T33" fmla="*/ 1076173846 h 21600"/>
                <a:gd name="T34" fmla="*/ 2147483647 w 21600"/>
                <a:gd name="T35" fmla="*/ 1142775320 h 21600"/>
                <a:gd name="T36" fmla="*/ 2147483647 w 21600"/>
                <a:gd name="T37" fmla="*/ 1020811273 h 21600"/>
                <a:gd name="T38" fmla="*/ 2147483647 w 21600"/>
                <a:gd name="T39" fmla="*/ 776722143 h 21600"/>
                <a:gd name="T40" fmla="*/ 2147483647 w 21600"/>
                <a:gd name="T41" fmla="*/ 987428543 h 21600"/>
                <a:gd name="T42" fmla="*/ 2147483647 w 21600"/>
                <a:gd name="T43" fmla="*/ 987428543 h 21600"/>
                <a:gd name="T44" fmla="*/ 2147483647 w 21600"/>
                <a:gd name="T45" fmla="*/ 587995531 h 21600"/>
                <a:gd name="T46" fmla="*/ 2147483647 w 21600"/>
                <a:gd name="T47" fmla="*/ 310687656 h 21600"/>
                <a:gd name="T48" fmla="*/ 2147483647 w 21600"/>
                <a:gd name="T49" fmla="*/ 110889184 h 21600"/>
                <a:gd name="T50" fmla="*/ 2147483647 w 21600"/>
                <a:gd name="T51" fmla="*/ 0 h 21600"/>
                <a:gd name="T52" fmla="*/ 2147483647 w 21600"/>
                <a:gd name="T53" fmla="*/ 66598526 h 21600"/>
                <a:gd name="T54" fmla="*/ 2147483647 w 21600"/>
                <a:gd name="T55" fmla="*/ 388361044 h 21600"/>
                <a:gd name="T56" fmla="*/ 2147483647 w 21600"/>
                <a:gd name="T57" fmla="*/ 621378315 h 21600"/>
                <a:gd name="T58" fmla="*/ 2147483647 w 21600"/>
                <a:gd name="T59" fmla="*/ 776722143 h 21600"/>
                <a:gd name="T60" fmla="*/ 2147483647 w 21600"/>
                <a:gd name="T61" fmla="*/ 1098481713 h 21600"/>
                <a:gd name="T62" fmla="*/ 2147483647 w 21600"/>
                <a:gd name="T63" fmla="*/ 1497917674 h 21600"/>
                <a:gd name="T64" fmla="*/ 2147483647 w 21600"/>
                <a:gd name="T65" fmla="*/ 1553280247 h 21600"/>
                <a:gd name="T66" fmla="*/ 2147483647 w 21600"/>
                <a:gd name="T67" fmla="*/ 1852895989 h 21600"/>
                <a:gd name="T68" fmla="*/ 2147483647 w 21600"/>
                <a:gd name="T69" fmla="*/ 1894419379 h 21600"/>
                <a:gd name="T70" fmla="*/ 2147483647 w 21600"/>
                <a:gd name="T71" fmla="*/ 2119292986 h 21600"/>
                <a:gd name="T72" fmla="*/ 2147483647 w 21600"/>
                <a:gd name="T73" fmla="*/ 2147483647 h 21600"/>
                <a:gd name="T74" fmla="*/ 2147483647 w 21600"/>
                <a:gd name="T75" fmla="*/ 2147483647 h 21600"/>
                <a:gd name="T76" fmla="*/ 2147483647 w 21600"/>
                <a:gd name="T77" fmla="*/ 2147483647 h 21600"/>
                <a:gd name="T78" fmla="*/ 2147483647 w 21600"/>
                <a:gd name="T79" fmla="*/ 2147483647 h 21600"/>
                <a:gd name="T80" fmla="*/ 2147483647 w 21600"/>
                <a:gd name="T81" fmla="*/ 2147483647 h 21600"/>
                <a:gd name="T82" fmla="*/ 2147483647 w 21600"/>
                <a:gd name="T83" fmla="*/ 2147483647 h 21600"/>
                <a:gd name="T84" fmla="*/ 2147483647 w 21600"/>
                <a:gd name="T85" fmla="*/ 2147483647 h 21600"/>
                <a:gd name="T86" fmla="*/ 2147483647 w 21600"/>
                <a:gd name="T87" fmla="*/ 2147483647 h 21600"/>
                <a:gd name="T88" fmla="*/ 2147483647 w 21600"/>
                <a:gd name="T89" fmla="*/ 2147483647 h 21600"/>
                <a:gd name="T90" fmla="*/ 2147483647 w 21600"/>
                <a:gd name="T91" fmla="*/ 2147483647 h 21600"/>
                <a:gd name="T92" fmla="*/ 2147483647 w 21600"/>
                <a:gd name="T93" fmla="*/ 2147483647 h 21600"/>
                <a:gd name="T94" fmla="*/ 2147483647 w 21600"/>
                <a:gd name="T95" fmla="*/ 2147483647 h 21600"/>
                <a:gd name="T96" fmla="*/ 2147483647 w 21600"/>
                <a:gd name="T97" fmla="*/ 2147483647 h 21600"/>
                <a:gd name="T98" fmla="*/ 2147483647 w 21600"/>
                <a:gd name="T99" fmla="*/ 2147483647 h 21600"/>
                <a:gd name="T100" fmla="*/ 2147483647 w 21600"/>
                <a:gd name="T101" fmla="*/ 2147483647 h 21600"/>
                <a:gd name="T102" fmla="*/ 2147483647 w 21600"/>
                <a:gd name="T103" fmla="*/ 2147483647 h 216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1600" h="21600">
                  <a:moveTo>
                    <a:pt x="7939" y="19590"/>
                  </a:moveTo>
                  <a:lnTo>
                    <a:pt x="6971" y="18125"/>
                  </a:lnTo>
                  <a:lnTo>
                    <a:pt x="5989" y="16626"/>
                  </a:lnTo>
                  <a:lnTo>
                    <a:pt x="5105" y="15195"/>
                  </a:lnTo>
                  <a:lnTo>
                    <a:pt x="3873" y="12839"/>
                  </a:lnTo>
                  <a:lnTo>
                    <a:pt x="3336" y="12025"/>
                  </a:lnTo>
                  <a:lnTo>
                    <a:pt x="2083" y="10521"/>
                  </a:lnTo>
                  <a:lnTo>
                    <a:pt x="1031" y="9403"/>
                  </a:lnTo>
                  <a:lnTo>
                    <a:pt x="0" y="8926"/>
                  </a:lnTo>
                  <a:lnTo>
                    <a:pt x="0" y="6609"/>
                  </a:lnTo>
                  <a:lnTo>
                    <a:pt x="687" y="5724"/>
                  </a:lnTo>
                  <a:lnTo>
                    <a:pt x="1669" y="5656"/>
                  </a:lnTo>
                  <a:lnTo>
                    <a:pt x="2160" y="4633"/>
                  </a:lnTo>
                  <a:lnTo>
                    <a:pt x="3436" y="4633"/>
                  </a:lnTo>
                  <a:lnTo>
                    <a:pt x="4025" y="6064"/>
                  </a:lnTo>
                  <a:lnTo>
                    <a:pt x="5253" y="6814"/>
                  </a:lnTo>
                  <a:lnTo>
                    <a:pt x="6824" y="6609"/>
                  </a:lnTo>
                  <a:lnTo>
                    <a:pt x="8002" y="7018"/>
                  </a:lnTo>
                  <a:lnTo>
                    <a:pt x="9475" y="6269"/>
                  </a:lnTo>
                  <a:lnTo>
                    <a:pt x="10456" y="4770"/>
                  </a:lnTo>
                  <a:lnTo>
                    <a:pt x="11880" y="6064"/>
                  </a:lnTo>
                  <a:lnTo>
                    <a:pt x="13500" y="6064"/>
                  </a:lnTo>
                  <a:lnTo>
                    <a:pt x="14531" y="3611"/>
                  </a:lnTo>
                  <a:lnTo>
                    <a:pt x="15415" y="1908"/>
                  </a:lnTo>
                  <a:lnTo>
                    <a:pt x="14776" y="681"/>
                  </a:lnTo>
                  <a:lnTo>
                    <a:pt x="15905" y="0"/>
                  </a:lnTo>
                  <a:lnTo>
                    <a:pt x="16740" y="409"/>
                  </a:lnTo>
                  <a:lnTo>
                    <a:pt x="16691" y="2385"/>
                  </a:lnTo>
                  <a:lnTo>
                    <a:pt x="16936" y="3816"/>
                  </a:lnTo>
                  <a:lnTo>
                    <a:pt x="17575" y="4770"/>
                  </a:lnTo>
                  <a:lnTo>
                    <a:pt x="18115" y="6746"/>
                  </a:lnTo>
                  <a:lnTo>
                    <a:pt x="18311" y="9199"/>
                  </a:lnTo>
                  <a:lnTo>
                    <a:pt x="16936" y="9539"/>
                  </a:lnTo>
                  <a:lnTo>
                    <a:pt x="16445" y="11379"/>
                  </a:lnTo>
                  <a:lnTo>
                    <a:pt x="17907" y="11634"/>
                  </a:lnTo>
                  <a:lnTo>
                    <a:pt x="18753" y="13015"/>
                  </a:lnTo>
                  <a:lnTo>
                    <a:pt x="19636" y="14445"/>
                  </a:lnTo>
                  <a:lnTo>
                    <a:pt x="20716" y="17103"/>
                  </a:lnTo>
                  <a:lnTo>
                    <a:pt x="21551" y="17239"/>
                  </a:lnTo>
                  <a:lnTo>
                    <a:pt x="21600" y="18874"/>
                  </a:lnTo>
                  <a:lnTo>
                    <a:pt x="20373" y="18943"/>
                  </a:lnTo>
                  <a:lnTo>
                    <a:pt x="19195" y="19079"/>
                  </a:lnTo>
                  <a:lnTo>
                    <a:pt x="18262" y="20578"/>
                  </a:lnTo>
                  <a:lnTo>
                    <a:pt x="17133" y="21123"/>
                  </a:lnTo>
                  <a:lnTo>
                    <a:pt x="15365" y="21259"/>
                  </a:lnTo>
                  <a:lnTo>
                    <a:pt x="13991" y="21191"/>
                  </a:lnTo>
                  <a:lnTo>
                    <a:pt x="13009" y="21600"/>
                  </a:lnTo>
                  <a:lnTo>
                    <a:pt x="12171" y="20506"/>
                  </a:lnTo>
                  <a:lnTo>
                    <a:pt x="10898" y="19147"/>
                  </a:lnTo>
                  <a:lnTo>
                    <a:pt x="9564" y="18956"/>
                  </a:lnTo>
                  <a:lnTo>
                    <a:pt x="7939" y="19590"/>
                  </a:lnTo>
                  <a:close/>
                  <a:moveTo>
                    <a:pt x="7939" y="19590"/>
                  </a:moveTo>
                </a:path>
              </a:pathLst>
            </a:custGeom>
            <a:solidFill>
              <a:srgbClr val="FFC00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Oval 55">
              <a:extLst>
                <a:ext uri="{FF2B5EF4-FFF2-40B4-BE49-F238E27FC236}">
                  <a16:creationId xmlns:a16="http://schemas.microsoft.com/office/drawing/2014/main" id="{46C2E268-DEC2-B891-3755-9464D9B0109F}"/>
                </a:ext>
              </a:extLst>
            </p:cNvPr>
            <p:cNvSpPr>
              <a:spLocks/>
            </p:cNvSpPr>
            <p:nvPr/>
          </p:nvSpPr>
          <p:spPr bwMode="auto">
            <a:xfrm rot="18196973">
              <a:off x="2028730" y="3285712"/>
              <a:ext cx="53922" cy="2922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1000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1pPr>
              <a:lvl2pPr marL="742950" indent="-28575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2pPr>
              <a:lvl3pPr marL="11430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3pPr>
              <a:lvl4pPr marL="16002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4pPr>
              <a:lvl5pPr marL="20574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9pPr>
            </a:lstStyle>
            <a:p>
              <a:pPr algn="ctr" defTabSz="685800"/>
              <a:endParaRPr lang="en-US" altLang="en-US" sz="2215" dirty="0"/>
            </a:p>
          </p:txBody>
        </p:sp>
        <p:sp>
          <p:nvSpPr>
            <p:cNvPr id="63" name="Oval 56">
              <a:extLst>
                <a:ext uri="{FF2B5EF4-FFF2-40B4-BE49-F238E27FC236}">
                  <a16:creationId xmlns:a16="http://schemas.microsoft.com/office/drawing/2014/main" id="{E87EB69B-9489-A1D7-4613-D6BDC2E1ACC8}"/>
                </a:ext>
              </a:extLst>
            </p:cNvPr>
            <p:cNvSpPr>
              <a:spLocks/>
            </p:cNvSpPr>
            <p:nvPr/>
          </p:nvSpPr>
          <p:spPr bwMode="auto">
            <a:xfrm rot="17652526">
              <a:off x="1885434" y="3516847"/>
              <a:ext cx="33701" cy="2191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1000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1pPr>
              <a:lvl2pPr marL="742950" indent="-28575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2pPr>
              <a:lvl3pPr marL="11430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3pPr>
              <a:lvl4pPr marL="16002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4pPr>
              <a:lvl5pPr marL="20574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9pPr>
            </a:lstStyle>
            <a:p>
              <a:pPr algn="ctr" defTabSz="685800"/>
              <a:endParaRPr lang="en-US" altLang="en-US" sz="2215" dirty="0"/>
            </a:p>
          </p:txBody>
        </p:sp>
        <p:sp>
          <p:nvSpPr>
            <p:cNvPr id="64" name="Oval 57">
              <a:extLst>
                <a:ext uri="{FF2B5EF4-FFF2-40B4-BE49-F238E27FC236}">
                  <a16:creationId xmlns:a16="http://schemas.microsoft.com/office/drawing/2014/main" id="{AC6F5A86-C7AD-9F6F-87C3-E6A6B5FA0840}"/>
                </a:ext>
              </a:extLst>
            </p:cNvPr>
            <p:cNvSpPr>
              <a:spLocks/>
            </p:cNvSpPr>
            <p:nvPr/>
          </p:nvSpPr>
          <p:spPr bwMode="auto">
            <a:xfrm rot="16412833">
              <a:off x="1953637" y="3437089"/>
              <a:ext cx="26961" cy="1461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1000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1pPr>
              <a:lvl2pPr marL="742950" indent="-28575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2pPr>
              <a:lvl3pPr marL="11430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3pPr>
              <a:lvl4pPr marL="16002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4pPr>
              <a:lvl5pPr marL="20574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9pPr>
            </a:lstStyle>
            <a:p>
              <a:pPr algn="ctr" defTabSz="685800"/>
              <a:endParaRPr lang="en-US" altLang="en-US" sz="2215" dirty="0"/>
            </a:p>
          </p:txBody>
        </p:sp>
        <p:sp>
          <p:nvSpPr>
            <p:cNvPr id="65" name="Oval 58">
              <a:extLst>
                <a:ext uri="{FF2B5EF4-FFF2-40B4-BE49-F238E27FC236}">
                  <a16:creationId xmlns:a16="http://schemas.microsoft.com/office/drawing/2014/main" id="{62502CE8-1610-B376-8AF3-0A760D3C0CF7}"/>
                </a:ext>
              </a:extLst>
            </p:cNvPr>
            <p:cNvSpPr>
              <a:spLocks/>
            </p:cNvSpPr>
            <p:nvPr/>
          </p:nvSpPr>
          <p:spPr bwMode="auto">
            <a:xfrm rot="17652526">
              <a:off x="4744448" y="4427620"/>
              <a:ext cx="33701" cy="2191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1000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1pPr>
              <a:lvl2pPr marL="742950" indent="-28575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2pPr>
              <a:lvl3pPr marL="11430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3pPr>
              <a:lvl4pPr marL="16002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4pPr>
              <a:lvl5pPr marL="20574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9pPr>
            </a:lstStyle>
            <a:p>
              <a:pPr algn="ctr" defTabSz="685800"/>
              <a:endParaRPr lang="en-US" altLang="en-US" sz="2215" dirty="0"/>
            </a:p>
          </p:txBody>
        </p:sp>
        <p:sp>
          <p:nvSpPr>
            <p:cNvPr id="66" name="Oval 59">
              <a:extLst>
                <a:ext uri="{FF2B5EF4-FFF2-40B4-BE49-F238E27FC236}">
                  <a16:creationId xmlns:a16="http://schemas.microsoft.com/office/drawing/2014/main" id="{B9BAADFA-8FAD-6B38-6577-6E21DC5ADE60}"/>
                </a:ext>
              </a:extLst>
            </p:cNvPr>
            <p:cNvSpPr>
              <a:spLocks/>
            </p:cNvSpPr>
            <p:nvPr/>
          </p:nvSpPr>
          <p:spPr bwMode="auto">
            <a:xfrm rot="17652526">
              <a:off x="4802889" y="4461320"/>
              <a:ext cx="33701" cy="2191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1000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1pPr>
              <a:lvl2pPr marL="742950" indent="-28575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2pPr>
              <a:lvl3pPr marL="11430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3pPr>
              <a:lvl4pPr marL="16002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4pPr>
              <a:lvl5pPr marL="20574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9pPr>
            </a:lstStyle>
            <a:p>
              <a:pPr algn="ctr" defTabSz="685800"/>
              <a:endParaRPr lang="en-US" altLang="en-US" sz="2215" dirty="0"/>
            </a:p>
          </p:txBody>
        </p:sp>
        <p:sp>
          <p:nvSpPr>
            <p:cNvPr id="67" name="Oval 60">
              <a:extLst>
                <a:ext uri="{FF2B5EF4-FFF2-40B4-BE49-F238E27FC236}">
                  <a16:creationId xmlns:a16="http://schemas.microsoft.com/office/drawing/2014/main" id="{E5C2EDDA-B420-14AA-5557-3FABD420EB4F}"/>
                </a:ext>
              </a:extLst>
            </p:cNvPr>
            <p:cNvSpPr>
              <a:spLocks/>
            </p:cNvSpPr>
            <p:nvPr/>
          </p:nvSpPr>
          <p:spPr bwMode="auto">
            <a:xfrm rot="10936610">
              <a:off x="4691900" y="4435207"/>
              <a:ext cx="36525" cy="20221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1000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1pPr>
              <a:lvl2pPr marL="742950" indent="-28575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2pPr>
              <a:lvl3pPr marL="11430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3pPr>
              <a:lvl4pPr marL="16002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4pPr>
              <a:lvl5pPr marL="2057400" indent="-228600"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Heiti SC Light" charset="-122"/>
                  <a:sym typeface="Gill Sans" charset="0"/>
                </a:defRPr>
              </a:lvl9pPr>
            </a:lstStyle>
            <a:p>
              <a:pPr algn="ctr" defTabSz="685800"/>
              <a:endParaRPr lang="en-US" altLang="en-US" sz="2215" dirty="0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A64D3D87-1429-16EF-2D71-4348854BC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9949" y="3531175"/>
              <a:ext cx="220065" cy="214002"/>
            </a:xfrm>
            <a:custGeom>
              <a:avLst/>
              <a:gdLst>
                <a:gd name="T0" fmla="*/ 4423266 w 21600"/>
                <a:gd name="T1" fmla="*/ 140518928 h 21600"/>
                <a:gd name="T2" fmla="*/ 0 w 21600"/>
                <a:gd name="T3" fmla="*/ 106078940 h 21600"/>
                <a:gd name="T4" fmla="*/ 3745306 w 21600"/>
                <a:gd name="T5" fmla="*/ 72438737 h 21600"/>
                <a:gd name="T6" fmla="*/ 1022449 w 21600"/>
                <a:gd name="T7" fmla="*/ 32885388 h 21600"/>
                <a:gd name="T8" fmla="*/ 16298249 w 21600"/>
                <a:gd name="T9" fmla="*/ 13336275 h 21600"/>
                <a:gd name="T10" fmla="*/ 47144743 w 21600"/>
                <a:gd name="T11" fmla="*/ 7988727 h 21600"/>
                <a:gd name="T12" fmla="*/ 73651113 w 21600"/>
                <a:gd name="T13" fmla="*/ 0 h 21600"/>
                <a:gd name="T14" fmla="*/ 93945015 w 21600"/>
                <a:gd name="T15" fmla="*/ 11261029 h 21600"/>
                <a:gd name="T16" fmla="*/ 120029103 w 21600"/>
                <a:gd name="T17" fmla="*/ 25553563 h 21600"/>
                <a:gd name="T18" fmla="*/ 104458710 w 21600"/>
                <a:gd name="T19" fmla="*/ 44432520 h 21600"/>
                <a:gd name="T20" fmla="*/ 94584078 w 21600"/>
                <a:gd name="T21" fmla="*/ 79913800 h 21600"/>
                <a:gd name="T22" fmla="*/ 75951689 w 21600"/>
                <a:gd name="T23" fmla="*/ 102487773 h 21600"/>
                <a:gd name="T24" fmla="*/ 62976465 w 21600"/>
                <a:gd name="T25" fmla="*/ 139913960 h 21600"/>
                <a:gd name="T26" fmla="*/ 37831364 w 21600"/>
                <a:gd name="T27" fmla="*/ 129316442 h 21600"/>
                <a:gd name="T28" fmla="*/ 4423266 w 21600"/>
                <a:gd name="T29" fmla="*/ 140518928 h 21600"/>
                <a:gd name="T30" fmla="*/ 4423266 w 21600"/>
                <a:gd name="T31" fmla="*/ 140518928 h 216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1600" h="21600">
                  <a:moveTo>
                    <a:pt x="796" y="21600"/>
                  </a:moveTo>
                  <a:lnTo>
                    <a:pt x="0" y="16306"/>
                  </a:lnTo>
                  <a:lnTo>
                    <a:pt x="674" y="11135"/>
                  </a:lnTo>
                  <a:lnTo>
                    <a:pt x="184" y="5055"/>
                  </a:lnTo>
                  <a:lnTo>
                    <a:pt x="2933" y="2050"/>
                  </a:lnTo>
                  <a:lnTo>
                    <a:pt x="8484" y="1228"/>
                  </a:lnTo>
                  <a:lnTo>
                    <a:pt x="13254" y="0"/>
                  </a:lnTo>
                  <a:lnTo>
                    <a:pt x="16906" y="1731"/>
                  </a:lnTo>
                  <a:lnTo>
                    <a:pt x="21600" y="3928"/>
                  </a:lnTo>
                  <a:lnTo>
                    <a:pt x="18798" y="6830"/>
                  </a:lnTo>
                  <a:lnTo>
                    <a:pt x="17021" y="12284"/>
                  </a:lnTo>
                  <a:lnTo>
                    <a:pt x="13668" y="15754"/>
                  </a:lnTo>
                  <a:lnTo>
                    <a:pt x="11333" y="21507"/>
                  </a:lnTo>
                  <a:lnTo>
                    <a:pt x="6808" y="19878"/>
                  </a:lnTo>
                  <a:lnTo>
                    <a:pt x="796" y="21600"/>
                  </a:lnTo>
                  <a:close/>
                  <a:moveTo>
                    <a:pt x="796" y="21600"/>
                  </a:moveTo>
                </a:path>
              </a:pathLst>
            </a:custGeom>
            <a:solidFill>
              <a:srgbClr val="00B0F0"/>
            </a:solidFill>
            <a:ln w="6350" cap="flat">
              <a:solidFill>
                <a:schemeClr val="accent1">
                  <a:lumMod val="1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685800"/>
              <a:endParaRPr lang="en-US" sz="949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52AA7DE-7CA9-48D9-B8C7-19D0C60A11D7}"/>
              </a:ext>
            </a:extLst>
          </p:cNvPr>
          <p:cNvGrpSpPr/>
          <p:nvPr/>
        </p:nvGrpSpPr>
        <p:grpSpPr>
          <a:xfrm>
            <a:off x="5153744" y="4124075"/>
            <a:ext cx="2141076" cy="870937"/>
            <a:chOff x="9086377" y="5030793"/>
            <a:chExt cx="2937186" cy="1161249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C92EDDAA-B82F-9081-2BDE-E2585C458715}"/>
                </a:ext>
              </a:extLst>
            </p:cNvPr>
            <p:cNvGrpSpPr/>
            <p:nvPr/>
          </p:nvGrpSpPr>
          <p:grpSpPr>
            <a:xfrm>
              <a:off x="9086377" y="6040633"/>
              <a:ext cx="2028182" cy="151409"/>
              <a:chOff x="9086377" y="6040633"/>
              <a:chExt cx="2028182" cy="151409"/>
            </a:xfrm>
          </p:grpSpPr>
          <p:sp>
            <p:nvSpPr>
              <p:cNvPr id="86" name="Rectangle 63">
                <a:extLst>
                  <a:ext uri="{FF2B5EF4-FFF2-40B4-BE49-F238E27FC236}">
                    <a16:creationId xmlns:a16="http://schemas.microsoft.com/office/drawing/2014/main" id="{7B312C11-2A1B-2A11-E9B0-127F6CFE0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6377" y="6052085"/>
                <a:ext cx="360000" cy="12850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algn="ctr" defTabSz="685800"/>
                <a:endParaRPr lang="en-US" altLang="en-US" sz="2215" dirty="0">
                  <a:solidFill>
                    <a:srgbClr val="5B9BD5">
                      <a:lumMod val="10000"/>
                    </a:srgbClr>
                  </a:solidFill>
                </a:endParaRPr>
              </a:p>
            </p:txBody>
          </p:sp>
          <p:sp>
            <p:nvSpPr>
              <p:cNvPr id="87" name="Rectangle 73">
                <a:extLst>
                  <a:ext uri="{FF2B5EF4-FFF2-40B4-BE49-F238E27FC236}">
                    <a16:creationId xmlns:a16="http://schemas.microsoft.com/office/drawing/2014/main" id="{8004645B-DC54-7E9E-BA55-302763974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5334" y="6040633"/>
                <a:ext cx="1599225" cy="1514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defTabSz="685800"/>
                <a:r>
                  <a:rPr lang="en-US" altLang="en-US" sz="738" dirty="0">
                    <a:solidFill>
                      <a:srgbClr val="5B9BD5">
                        <a:lumMod val="10000"/>
                      </a:srgbClr>
                    </a:solidFill>
                  </a:rPr>
                  <a:t>Not applicable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B100CDD1-35A3-1EA5-92AD-DFEC0B8AB782}"/>
                </a:ext>
              </a:extLst>
            </p:cNvPr>
            <p:cNvGrpSpPr/>
            <p:nvPr/>
          </p:nvGrpSpPr>
          <p:grpSpPr>
            <a:xfrm>
              <a:off x="9086377" y="5838665"/>
              <a:ext cx="1777274" cy="151409"/>
              <a:chOff x="9086377" y="5836079"/>
              <a:chExt cx="1777274" cy="151409"/>
            </a:xfrm>
          </p:grpSpPr>
          <p:sp>
            <p:nvSpPr>
              <p:cNvPr id="84" name="Rectangle 66">
                <a:extLst>
                  <a:ext uri="{FF2B5EF4-FFF2-40B4-BE49-F238E27FC236}">
                    <a16:creationId xmlns:a16="http://schemas.microsoft.com/office/drawing/2014/main" id="{19B10D18-8AF8-EADD-C695-4F6E3493E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6377" y="5847531"/>
                <a:ext cx="360000" cy="12850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algn="ctr" defTabSz="685800"/>
                <a:endParaRPr lang="en-US" altLang="en-US" sz="2215" dirty="0">
                  <a:solidFill>
                    <a:srgbClr val="5B9BD5">
                      <a:lumMod val="10000"/>
                    </a:srgbClr>
                  </a:soli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74A10948-851F-8C56-6CA4-38D89A6E8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5333" y="5836079"/>
                <a:ext cx="1348318" cy="1514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defTabSz="685800"/>
                <a:r>
                  <a:rPr lang="en-US" altLang="en-US" sz="738" dirty="0">
                    <a:solidFill>
                      <a:srgbClr val="5B9BD5">
                        <a:lumMod val="10000"/>
                      </a:srgbClr>
                    </a:solidFill>
                  </a:rPr>
                  <a:t>EMRO Member States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B1685F9B-8409-0053-1BCA-9CC6D13B86E8}"/>
                </a:ext>
              </a:extLst>
            </p:cNvPr>
            <p:cNvGrpSpPr/>
            <p:nvPr/>
          </p:nvGrpSpPr>
          <p:grpSpPr>
            <a:xfrm>
              <a:off x="9086377" y="5434729"/>
              <a:ext cx="2740548" cy="151409"/>
              <a:chOff x="9086377" y="5440116"/>
              <a:chExt cx="2740548" cy="151409"/>
            </a:xfrm>
          </p:grpSpPr>
          <p:sp>
            <p:nvSpPr>
              <p:cNvPr id="82" name="Rectangle 63">
                <a:extLst>
                  <a:ext uri="{FF2B5EF4-FFF2-40B4-BE49-F238E27FC236}">
                    <a16:creationId xmlns:a16="http://schemas.microsoft.com/office/drawing/2014/main" id="{E7578057-D167-6A8C-C53D-672AAD8CB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6377" y="5451568"/>
                <a:ext cx="360000" cy="128504"/>
              </a:xfrm>
              <a:prstGeom prst="rect">
                <a:avLst/>
              </a:prstGeom>
              <a:solidFill>
                <a:srgbClr val="FAE100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algn="ctr" defTabSz="685800"/>
                <a:endParaRPr lang="en-US" altLang="en-US" sz="2215" dirty="0">
                  <a:solidFill>
                    <a:srgbClr val="5B9BD5">
                      <a:lumMod val="10000"/>
                    </a:srgbClr>
                  </a:solidFill>
                </a:endParaRPr>
              </a:p>
            </p:txBody>
          </p:sp>
          <p:sp>
            <p:nvSpPr>
              <p:cNvPr id="83" name="Rectangle 73">
                <a:extLst>
                  <a:ext uri="{FF2B5EF4-FFF2-40B4-BE49-F238E27FC236}">
                    <a16:creationId xmlns:a16="http://schemas.microsoft.com/office/drawing/2014/main" id="{7F72AA67-1700-FB0B-1D4B-AD2901147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5334" y="5440116"/>
                <a:ext cx="2311591" cy="1514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defTabSz="685800"/>
                <a:r>
                  <a:rPr lang="en-US" altLang="en-US" sz="738" dirty="0">
                    <a:solidFill>
                      <a:srgbClr val="5B9BD5">
                        <a:lumMod val="10000"/>
                      </a:srgbClr>
                    </a:solidFill>
                  </a:rPr>
                  <a:t>Countries with sentinel surveillance</a:t>
                </a: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2CDF8C1-AADD-F9C3-727E-9B2BB3B5E6E3}"/>
                </a:ext>
              </a:extLst>
            </p:cNvPr>
            <p:cNvGrpSpPr/>
            <p:nvPr/>
          </p:nvGrpSpPr>
          <p:grpSpPr>
            <a:xfrm>
              <a:off x="9086377" y="5636697"/>
              <a:ext cx="2937186" cy="151409"/>
              <a:chOff x="9086377" y="5636582"/>
              <a:chExt cx="2937186" cy="151409"/>
            </a:xfrm>
          </p:grpSpPr>
          <p:sp>
            <p:nvSpPr>
              <p:cNvPr id="80" name="Rectangle 63">
                <a:extLst>
                  <a:ext uri="{FF2B5EF4-FFF2-40B4-BE49-F238E27FC236}">
                    <a16:creationId xmlns:a16="http://schemas.microsoft.com/office/drawing/2014/main" id="{5B54600F-14D6-9594-18F1-EA6AA1C93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6377" y="5648034"/>
                <a:ext cx="360000" cy="128504"/>
              </a:xfrm>
              <a:prstGeom prst="rect">
                <a:avLst/>
              </a:prstGeom>
              <a:solidFill>
                <a:srgbClr val="DBFFE5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algn="ctr" defTabSz="685800"/>
                <a:endParaRPr lang="en-US" altLang="en-US" sz="2215" dirty="0">
                  <a:solidFill>
                    <a:srgbClr val="5B9BD5">
                      <a:lumMod val="10000"/>
                    </a:srgbClr>
                  </a:solidFill>
                </a:endParaRPr>
              </a:p>
            </p:txBody>
          </p:sp>
          <p:sp>
            <p:nvSpPr>
              <p:cNvPr id="81" name="Rectangle 73">
                <a:extLst>
                  <a:ext uri="{FF2B5EF4-FFF2-40B4-BE49-F238E27FC236}">
                    <a16:creationId xmlns:a16="http://schemas.microsoft.com/office/drawing/2014/main" id="{6599D66F-E7B5-FB59-A4BA-BCBF008AD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5334" y="5636582"/>
                <a:ext cx="2508229" cy="1514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defTabSz="685800"/>
                <a:r>
                  <a:rPr lang="en-US" altLang="en-US" sz="738" dirty="0">
                    <a:solidFill>
                      <a:srgbClr val="5B9BD5">
                        <a:lumMod val="10000"/>
                      </a:srgbClr>
                    </a:solidFill>
                  </a:rPr>
                  <a:t>AFRO Member States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F1C482E5-1A18-C8EC-42CC-F7030F5EBDBB}"/>
                </a:ext>
              </a:extLst>
            </p:cNvPr>
            <p:cNvGrpSpPr/>
            <p:nvPr/>
          </p:nvGrpSpPr>
          <p:grpSpPr>
            <a:xfrm>
              <a:off x="9086377" y="5030793"/>
              <a:ext cx="2740548" cy="151409"/>
              <a:chOff x="9086377" y="5030793"/>
              <a:chExt cx="2740548" cy="151409"/>
            </a:xfrm>
          </p:grpSpPr>
          <p:sp>
            <p:nvSpPr>
              <p:cNvPr id="78" name="Rectangle 73">
                <a:extLst>
                  <a:ext uri="{FF2B5EF4-FFF2-40B4-BE49-F238E27FC236}">
                    <a16:creationId xmlns:a16="http://schemas.microsoft.com/office/drawing/2014/main" id="{30B8B61B-0D3F-7A81-29B7-357E3DFCE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5334" y="5030793"/>
                <a:ext cx="2311591" cy="1514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defTabSz="685800"/>
                <a:r>
                  <a:rPr lang="en-US" altLang="en-US" sz="738" dirty="0">
                    <a:solidFill>
                      <a:srgbClr val="5B9BD5">
                        <a:lumMod val="10000"/>
                      </a:srgbClr>
                    </a:solidFill>
                  </a:rPr>
                  <a:t>Countries targeted for reporting in 2023</a:t>
                </a:r>
              </a:p>
            </p:txBody>
          </p:sp>
          <p:sp>
            <p:nvSpPr>
              <p:cNvPr id="79" name="Rectangle 63">
                <a:extLst>
                  <a:ext uri="{FF2B5EF4-FFF2-40B4-BE49-F238E27FC236}">
                    <a16:creationId xmlns:a16="http://schemas.microsoft.com/office/drawing/2014/main" id="{CEF27DD2-23CC-C11F-582C-67A481239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6377" y="5042245"/>
                <a:ext cx="360000" cy="128504"/>
              </a:xfrm>
              <a:prstGeom prst="rect">
                <a:avLst/>
              </a:prstGeom>
              <a:solidFill>
                <a:srgbClr val="FF9300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algn="ctr" defTabSz="685800"/>
                <a:endParaRPr lang="en-US" altLang="en-US" sz="2215" dirty="0">
                  <a:solidFill>
                    <a:srgbClr val="5B9BD5">
                      <a:lumMod val="10000"/>
                    </a:srgbClr>
                  </a:solidFill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1E42294-95CA-5346-71B1-C08CE9F2763A}"/>
                </a:ext>
              </a:extLst>
            </p:cNvPr>
            <p:cNvGrpSpPr/>
            <p:nvPr/>
          </p:nvGrpSpPr>
          <p:grpSpPr>
            <a:xfrm>
              <a:off x="9086377" y="5232761"/>
              <a:ext cx="2740548" cy="151409"/>
              <a:chOff x="9086377" y="5238213"/>
              <a:chExt cx="2740548" cy="151409"/>
            </a:xfrm>
          </p:grpSpPr>
          <p:sp>
            <p:nvSpPr>
              <p:cNvPr id="76" name="Rectangle 63">
                <a:extLst>
                  <a:ext uri="{FF2B5EF4-FFF2-40B4-BE49-F238E27FC236}">
                    <a16:creationId xmlns:a16="http://schemas.microsoft.com/office/drawing/2014/main" id="{7806053C-0C2F-B054-0B74-CF364F121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6377" y="5249665"/>
                <a:ext cx="360000" cy="128504"/>
              </a:xfrm>
              <a:prstGeom prst="rect">
                <a:avLst/>
              </a:prstGeom>
              <a:solidFill>
                <a:srgbClr val="FFFF00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algn="ctr" defTabSz="685800"/>
                <a:endParaRPr lang="en-US" altLang="en-US" sz="2215" dirty="0">
                  <a:solidFill>
                    <a:srgbClr val="5B9BD5">
                      <a:lumMod val="10000"/>
                    </a:srgbClr>
                  </a:solidFill>
                </a:endParaRPr>
              </a:p>
            </p:txBody>
          </p:sp>
          <p:sp>
            <p:nvSpPr>
              <p:cNvPr id="77" name="Rectangle 73">
                <a:extLst>
                  <a:ext uri="{FF2B5EF4-FFF2-40B4-BE49-F238E27FC236}">
                    <a16:creationId xmlns:a16="http://schemas.microsoft.com/office/drawing/2014/main" id="{0ED435C9-5EE7-A382-9856-9E3F075AB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15334" y="5238213"/>
                <a:ext cx="2311591" cy="1514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1pPr>
                <a:lvl2pPr marL="742950" indent="-28575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2pPr>
                <a:lvl3pPr marL="11430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3pPr>
                <a:lvl4pPr marL="16002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4pPr>
                <a:lvl5pPr marL="2057400" indent="-228600"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00">
                    <a:solidFill>
                      <a:srgbClr val="000000"/>
                    </a:solidFill>
                    <a:latin typeface="Gill Sans" charset="0"/>
                    <a:ea typeface="Heiti SC Light" charset="-122"/>
                    <a:sym typeface="Gill Sans" charset="0"/>
                  </a:defRPr>
                </a:lvl9pPr>
              </a:lstStyle>
              <a:p>
                <a:pPr defTabSz="685800"/>
                <a:r>
                  <a:rPr lang="en-US" altLang="en-US" sz="738" dirty="0">
                    <a:solidFill>
                      <a:srgbClr val="5B9BD5">
                        <a:lumMod val="10000"/>
                      </a:srgbClr>
                    </a:solidFill>
                  </a:rPr>
                  <a:t>Countries newly reporting in 2022</a:t>
                </a:r>
              </a:p>
            </p:txBody>
          </p:sp>
        </p:grpSp>
      </p:grpSp>
      <p:pic>
        <p:nvPicPr>
          <p:cNvPr id="126" name="Picture 1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0814" y="4753360"/>
            <a:ext cx="191008" cy="191008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7566" y="3458697"/>
            <a:ext cx="120884" cy="120884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4593" y="4437323"/>
            <a:ext cx="180275" cy="180275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4222" y="3711184"/>
            <a:ext cx="133754" cy="133754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4933" y="4217971"/>
            <a:ext cx="175061" cy="17506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4741DF-6EA7-6EF2-DCA3-A4E6CC2BE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0149" y="4462829"/>
            <a:ext cx="175200" cy="1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578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91A09-3353-E17D-DD3A-894CA0A36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0385"/>
            <a:ext cx="8229600" cy="764692"/>
          </a:xfrm>
        </p:spPr>
        <p:txBody>
          <a:bodyPr/>
          <a:lstStyle/>
          <a:p>
            <a:r>
              <a:rPr lang="en-ZA" dirty="0"/>
              <a:t>Integrated sentinel surveill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B86A40-8639-5C21-0576-484DC1EB5A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9" y="1055077"/>
            <a:ext cx="4114801" cy="3394472"/>
          </a:xfrm>
        </p:spPr>
        <p:txBody>
          <a:bodyPr>
            <a:normAutofit/>
          </a:bodyPr>
          <a:lstStyle/>
          <a:p>
            <a:r>
              <a:rPr lang="en-GB" sz="1400" dirty="0"/>
              <a:t>Expanding GISRS functions to </a:t>
            </a:r>
            <a:r>
              <a:rPr lang="en-GB" sz="1400" u="sng" dirty="0"/>
              <a:t>include non-influenza respiratory viruses with epidemic or pandemic potential</a:t>
            </a:r>
            <a:r>
              <a:rPr lang="en-GB" sz="1400" dirty="0"/>
              <a:t> in order to inform public health interventions</a:t>
            </a:r>
          </a:p>
          <a:p>
            <a:r>
              <a:rPr lang="en-GB" sz="1400" dirty="0"/>
              <a:t>Recommends that all countries implement year-round sentinel surveillance for </a:t>
            </a:r>
            <a:r>
              <a:rPr lang="en-GB" sz="1400" u="sng" dirty="0"/>
              <a:t>influenza and SARS-CoV-2</a:t>
            </a:r>
            <a:r>
              <a:rPr lang="en-GB" sz="1400" dirty="0"/>
              <a:t>. Countries may also consider integrating </a:t>
            </a:r>
            <a:r>
              <a:rPr lang="en-GB" sz="1400" u="sng" dirty="0"/>
              <a:t>RSV</a:t>
            </a:r>
            <a:r>
              <a:rPr lang="en-GB" sz="1400" dirty="0"/>
              <a:t> into sentinel surveillance</a:t>
            </a:r>
          </a:p>
          <a:p>
            <a:r>
              <a:rPr lang="en-GB" sz="1400" dirty="0"/>
              <a:t>Recommended that at least 50 specimens per week are tested (ILI and/or SRI)</a:t>
            </a:r>
          </a:p>
          <a:p>
            <a:r>
              <a:rPr lang="en-GB" sz="1400" dirty="0"/>
              <a:t>Genomic sequencing of as many samples as required, or at least 15 influenza and SARS-CoV-2 positive specimens per week </a:t>
            </a:r>
            <a:endParaRPr lang="en-ZA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FFD2F-01E4-02A5-293B-7F69B9DE9F0E}"/>
              </a:ext>
            </a:extLst>
          </p:cNvPr>
          <p:cNvSpPr txBox="1"/>
          <p:nvPr/>
        </p:nvSpPr>
        <p:spPr>
          <a:xfrm>
            <a:off x="4572000" y="4576116"/>
            <a:ext cx="45720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>
                <a:hlinkClick r:id="rId2"/>
              </a:rPr>
              <a:t>Implementing the integrated sentinel surveillance of influenza and other respiratory viruses of epidemic and pandemic potential by the Global Influenza Surveillance and Response System</a:t>
            </a:r>
            <a:endParaRPr lang="en-ZA" sz="1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3CC75D-C0C1-03D3-21D5-F2C1296CD2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351" y="1055077"/>
            <a:ext cx="3050252" cy="386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55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148"/>
            <a:ext cx="9144000" cy="589151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r>
              <a:rPr lang="en-ZA" dirty="0"/>
              <a:t>Influenza surveillance programmes in SA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518985" y="604298"/>
          <a:ext cx="8187696" cy="40809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7760">
                  <a:extLst>
                    <a:ext uri="{9D8B030D-6E8A-4147-A177-3AD203B41FA5}">
                      <a16:colId xmlns:a16="http://schemas.microsoft.com/office/drawing/2014/main" val="1421716986"/>
                    </a:ext>
                  </a:extLst>
                </a:gridCol>
                <a:gridCol w="2198872">
                  <a:extLst>
                    <a:ext uri="{9D8B030D-6E8A-4147-A177-3AD203B41FA5}">
                      <a16:colId xmlns:a16="http://schemas.microsoft.com/office/drawing/2014/main" val="1893593684"/>
                    </a:ext>
                  </a:extLst>
                </a:gridCol>
                <a:gridCol w="2135595">
                  <a:extLst>
                    <a:ext uri="{9D8B030D-6E8A-4147-A177-3AD203B41FA5}">
                      <a16:colId xmlns:a16="http://schemas.microsoft.com/office/drawing/2014/main" val="915581057"/>
                    </a:ext>
                  </a:extLst>
                </a:gridCol>
                <a:gridCol w="2275469">
                  <a:extLst>
                    <a:ext uri="{9D8B030D-6E8A-4147-A177-3AD203B41FA5}">
                      <a16:colId xmlns:a16="http://schemas.microsoft.com/office/drawing/2014/main" val="356223945"/>
                    </a:ext>
                  </a:extLst>
                </a:gridCol>
              </a:tblGrid>
              <a:tr h="359444">
                <a:tc>
                  <a:txBody>
                    <a:bodyPr/>
                    <a:lstStyle/>
                    <a:p>
                      <a:pPr>
                        <a:spcAft>
                          <a:spcPts val="1600"/>
                        </a:spcAft>
                      </a:pPr>
                      <a:r>
                        <a:rPr lang="en-GB" sz="1400" dirty="0">
                          <a:effectLst/>
                        </a:rPr>
                        <a:t>Programme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59018" marR="5901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Viral Watch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1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Influenza-like Illness (ILI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1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Pneumonia Surveillanc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96691132"/>
                  </a:ext>
                </a:extLst>
              </a:tr>
              <a:tr h="236766">
                <a:tc>
                  <a:txBody>
                    <a:bodyPr/>
                    <a:lstStyle/>
                    <a:p>
                      <a:pPr>
                        <a:spcAft>
                          <a:spcPts val="1600"/>
                        </a:spcAft>
                      </a:pPr>
                      <a:r>
                        <a:rPr lang="en-GB" sz="1400" dirty="0">
                          <a:effectLst/>
                        </a:rPr>
                        <a:t>Start year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59018" marR="5901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1984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201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200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46936692"/>
                  </a:ext>
                </a:extLst>
              </a:tr>
              <a:tr h="250260">
                <a:tc>
                  <a:txBody>
                    <a:bodyPr/>
                    <a:lstStyle/>
                    <a:p>
                      <a:pPr>
                        <a:spcAft>
                          <a:spcPts val="1600"/>
                        </a:spcAft>
                      </a:pPr>
                      <a:r>
                        <a:rPr lang="en-GB" sz="1400" dirty="0">
                          <a:effectLst/>
                        </a:rPr>
                        <a:t>Provinces*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59018" marR="5901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EC, FS, GP, LP, MP, NC, NW, WC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KZN, NW, WC, MP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EC, GP, KZN, MP, NW, WC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03074362"/>
                  </a:ext>
                </a:extLst>
              </a:tr>
              <a:tr h="234313">
                <a:tc>
                  <a:txBody>
                    <a:bodyPr/>
                    <a:lstStyle/>
                    <a:p>
                      <a:pPr>
                        <a:spcAft>
                          <a:spcPts val="1600"/>
                        </a:spcAft>
                      </a:pPr>
                      <a:r>
                        <a:rPr lang="en-GB" sz="1400" dirty="0">
                          <a:effectLst/>
                        </a:rPr>
                        <a:t>Number of sites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59018" marR="5901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98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1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34384624"/>
                  </a:ext>
                </a:extLst>
              </a:tr>
              <a:tr h="364350">
                <a:tc>
                  <a:txBody>
                    <a:bodyPr/>
                    <a:lstStyle/>
                    <a:p>
                      <a:pPr>
                        <a:spcAft>
                          <a:spcPts val="1600"/>
                        </a:spcAft>
                      </a:pPr>
                      <a:r>
                        <a:rPr lang="en-GB" sz="1400" dirty="0">
                          <a:effectLst/>
                        </a:rPr>
                        <a:t>Type of site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59018" marR="5901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General practitioners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Public primary health care clinics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Public hospitals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94883786"/>
                  </a:ext>
                </a:extLst>
              </a:tr>
              <a:tr h="2195892">
                <a:tc>
                  <a:txBody>
                    <a:bodyPr/>
                    <a:lstStyle/>
                    <a:p>
                      <a:pPr>
                        <a:spcAft>
                          <a:spcPts val="1600"/>
                        </a:spcAft>
                      </a:pPr>
                      <a:r>
                        <a:rPr lang="en-GB" sz="1400" dirty="0">
                          <a:effectLst/>
                        </a:rPr>
                        <a:t>Case definition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59018" marR="5901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An acute respiratory illness with fever (≥38°C), cough and symptom onset ≤10 days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or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Suspected SARS-CoV-2: Any person presenting with an acute (≤14 days) respiratory tract infection or other clinical illness compatible with COVID-19**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An acute respiratory illness with fever (≥38°C), cough and symptom onset ≤10 day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or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Suspected SARS-CoV-2: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Any person presenting with an acute (≤14 days) respiratory tract infection or other clinical illness compatible with COVID-19**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Lower respiratory tract illness of any duration, requiring hospitalisation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or 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Suspected SARS-CoV-2: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Any person admitted with a physician-diagnosis of suspected COVID-19 and not meeting SRI case definition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07776421"/>
                  </a:ext>
                </a:extLst>
              </a:tr>
              <a:tr h="439885">
                <a:tc>
                  <a:txBody>
                    <a:bodyPr/>
                    <a:lstStyle/>
                    <a:p>
                      <a:pPr>
                        <a:spcAft>
                          <a:spcPts val="1600"/>
                        </a:spcAft>
                      </a:pPr>
                      <a:r>
                        <a:rPr lang="en-GB" sz="1400" dirty="0">
                          <a:effectLst/>
                        </a:rPr>
                        <a:t>Specimens collected</a:t>
                      </a:r>
                      <a:endParaRPr lang="en-ZA" sz="1600" dirty="0">
                        <a:effectLst/>
                        <a:latin typeface="Century Gothic" panose="020B050202020202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59018" marR="5901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b="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Throat swabs and/or nasal/nasopharyngeal swabs</a:t>
                      </a:r>
                      <a:endParaRPr lang="en-US" sz="1600" b="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Mid-turbinate nasal swabs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Meiryo"/>
                          <a:cs typeface="Calibri" panose="020F0502020204030204" pitchFamily="34" charset="0"/>
                        </a:rPr>
                        <a:t>Mid-turbinate nasal swab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Meiryo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467202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5092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/>
          <p:cNvCxnSpPr/>
          <p:nvPr/>
        </p:nvCxnSpPr>
        <p:spPr>
          <a:xfrm>
            <a:off x="1803340" y="2670741"/>
            <a:ext cx="0" cy="3004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859328" y="3935635"/>
            <a:ext cx="385512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490978" y="4390184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965316" y="1529015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427567" y="1529015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026" y="-124342"/>
            <a:ext cx="5156842" cy="757262"/>
          </a:xfrm>
        </p:spPr>
        <p:txBody>
          <a:bodyPr>
            <a:normAutofit/>
          </a:bodyPr>
          <a:lstStyle/>
          <a:p>
            <a:r>
              <a:rPr lang="en-US" sz="3000" dirty="0"/>
              <a:t>Molecular testing in CRDM</a:t>
            </a:r>
          </a:p>
        </p:txBody>
      </p:sp>
      <p:sp>
        <p:nvSpPr>
          <p:cNvPr id="4" name="Rectangle 3"/>
          <p:cNvSpPr/>
          <p:nvPr/>
        </p:nvSpPr>
        <p:spPr>
          <a:xfrm>
            <a:off x="2771255" y="664128"/>
            <a:ext cx="2574867" cy="56443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Respiratory illness surveillance (SARI/ILI/VW)</a:t>
            </a:r>
          </a:p>
          <a:p>
            <a:pPr algn="ctr" defTabSz="685800"/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(Nasopharyngeal or nasal specimens)</a:t>
            </a:r>
          </a:p>
        </p:txBody>
      </p:sp>
      <p:cxnSp>
        <p:nvCxnSpPr>
          <p:cNvPr id="10" name="Straight Connector 9"/>
          <p:cNvCxnSpPr>
            <a:stCxn id="4" idx="2"/>
          </p:cNvCxnSpPr>
          <p:nvPr/>
        </p:nvCxnSpPr>
        <p:spPr>
          <a:xfrm>
            <a:off x="4058689" y="1228558"/>
            <a:ext cx="0" cy="3004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1798147" y="2669797"/>
            <a:ext cx="6539535" cy="9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777358" y="3381257"/>
            <a:ext cx="63642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Ct&lt;4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172095" y="2858300"/>
            <a:ext cx="1378883" cy="43401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r>
              <a:rPr lang="en-US" sz="1050">
                <a:solidFill>
                  <a:prstClr val="black"/>
                </a:solidFill>
                <a:latin typeface="Calibri" panose="020F0502020204030204"/>
              </a:rPr>
              <a:t>Influenza A/B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121433" y="1712014"/>
            <a:ext cx="2028302" cy="599504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ARS-CoV-2/</a:t>
            </a:r>
            <a:r>
              <a:rPr lang="en-US" sz="1050" dirty="0" err="1">
                <a:solidFill>
                  <a:prstClr val="black"/>
                </a:solidFill>
                <a:latin typeface="Calibri" panose="020F0502020204030204"/>
              </a:rPr>
              <a:t>FluA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1050" dirty="0" err="1">
                <a:solidFill>
                  <a:prstClr val="black"/>
                </a:solidFill>
                <a:latin typeface="Calibri" panose="020F0502020204030204"/>
              </a:rPr>
              <a:t>FluB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/RSV</a:t>
            </a:r>
          </a:p>
          <a:p>
            <a:pPr algn="ctr" defTabSz="685800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(Seegene Allplex™ kit)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172095" y="3718627"/>
            <a:ext cx="1378883" cy="43401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ubtyping</a:t>
            </a:r>
          </a:p>
          <a:p>
            <a:pPr algn="ctr" defTabSz="685800"/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(CDC IRR)</a:t>
            </a:r>
          </a:p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72095" y="4584641"/>
            <a:ext cx="1378883" cy="460086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WGS*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4058688" y="2311517"/>
            <a:ext cx="0" cy="3688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803340" y="3288533"/>
            <a:ext cx="0" cy="426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758072" y="4274768"/>
            <a:ext cx="54839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Ct&lt;30</a:t>
            </a:r>
          </a:p>
        </p:txBody>
      </p:sp>
      <p:sp>
        <p:nvSpPr>
          <p:cNvPr id="47" name="Rectangle 46"/>
          <p:cNvSpPr/>
          <p:nvPr/>
        </p:nvSpPr>
        <p:spPr>
          <a:xfrm>
            <a:off x="18182" y="3718628"/>
            <a:ext cx="841147" cy="71042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A(H1N1)pdm09</a:t>
            </a:r>
          </a:p>
          <a:p>
            <a:pPr defTabSz="685800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A(H3N2)</a:t>
            </a:r>
          </a:p>
          <a:p>
            <a:pPr defTabSz="685800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B/Victoria</a:t>
            </a:r>
          </a:p>
          <a:p>
            <a:pPr defTabSz="685800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B/Yamagata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8182" y="4429057"/>
            <a:ext cx="49461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en-US" sz="750" dirty="0" err="1">
                <a:solidFill>
                  <a:prstClr val="black"/>
                </a:solidFill>
                <a:latin typeface="Calibri" panose="020F0502020204030204"/>
              </a:rPr>
              <a:t>Neg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8182" y="4615707"/>
            <a:ext cx="841147" cy="429021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Influenza A</a:t>
            </a:r>
          </a:p>
          <a:p>
            <a:pPr algn="ctr" defTabSz="685800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H5/H7/H9</a:t>
            </a:r>
          </a:p>
        </p:txBody>
      </p:sp>
      <p:sp>
        <p:nvSpPr>
          <p:cNvPr id="63" name="Rectangle 62"/>
          <p:cNvSpPr/>
          <p:nvPr/>
        </p:nvSpPr>
        <p:spPr>
          <a:xfrm>
            <a:off x="3368711" y="2848786"/>
            <a:ext cx="1473440" cy="43401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RSV</a:t>
            </a:r>
            <a:endParaRPr lang="en-US" sz="7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64" name="Straight Connector 63"/>
          <p:cNvCxnSpPr/>
          <p:nvPr/>
        </p:nvCxnSpPr>
        <p:spPr>
          <a:xfrm>
            <a:off x="4058688" y="3292315"/>
            <a:ext cx="0" cy="426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3380162" y="3721791"/>
            <a:ext cx="1473440" cy="43401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ubgrouping</a:t>
            </a:r>
          </a:p>
          <a:p>
            <a:pPr algn="ctr" defTabSz="685800"/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(CDC IRR)</a:t>
            </a:r>
          </a:p>
          <a:p>
            <a:pPr algn="ctr" defTabSz="685800"/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105431" y="3391938"/>
            <a:ext cx="56369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Ct&lt;40</a:t>
            </a:r>
          </a:p>
        </p:txBody>
      </p:sp>
      <p:cxnSp>
        <p:nvCxnSpPr>
          <p:cNvPr id="68" name="Straight Connector 67"/>
          <p:cNvCxnSpPr/>
          <p:nvPr/>
        </p:nvCxnSpPr>
        <p:spPr>
          <a:xfrm>
            <a:off x="4061804" y="4152642"/>
            <a:ext cx="0" cy="426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4104411" y="4274768"/>
            <a:ext cx="5647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Ct&lt;30</a:t>
            </a:r>
          </a:p>
        </p:txBody>
      </p:sp>
      <p:sp>
        <p:nvSpPr>
          <p:cNvPr id="70" name="Rectangle 69"/>
          <p:cNvSpPr/>
          <p:nvPr/>
        </p:nvSpPr>
        <p:spPr>
          <a:xfrm>
            <a:off x="3368711" y="4578955"/>
            <a:ext cx="1484891" cy="465773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WGS*</a:t>
            </a:r>
          </a:p>
        </p:txBody>
      </p:sp>
      <p:cxnSp>
        <p:nvCxnSpPr>
          <p:cNvPr id="72" name="Straight Connector 71"/>
          <p:cNvCxnSpPr/>
          <p:nvPr/>
        </p:nvCxnSpPr>
        <p:spPr>
          <a:xfrm>
            <a:off x="4056088" y="267074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>
          <a:xfrm>
            <a:off x="5477023" y="2858300"/>
            <a:ext cx="1473440" cy="43401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ARS-CoV-2</a:t>
            </a:r>
          </a:p>
        </p:txBody>
      </p:sp>
      <p:cxnSp>
        <p:nvCxnSpPr>
          <p:cNvPr id="74" name="Straight Connector 73"/>
          <p:cNvCxnSpPr/>
          <p:nvPr/>
        </p:nvCxnSpPr>
        <p:spPr>
          <a:xfrm>
            <a:off x="6149346" y="3292315"/>
            <a:ext cx="0" cy="426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6149345" y="3381256"/>
            <a:ext cx="6104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Ct&lt;35</a:t>
            </a:r>
          </a:p>
        </p:txBody>
      </p:sp>
      <p:sp>
        <p:nvSpPr>
          <p:cNvPr id="76" name="Rectangle 75"/>
          <p:cNvSpPr/>
          <p:nvPr/>
        </p:nvSpPr>
        <p:spPr>
          <a:xfrm>
            <a:off x="5477023" y="3667432"/>
            <a:ext cx="1484891" cy="43401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WG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5826183" y="4744968"/>
            <a:ext cx="3382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*Virus isolation (influenza/RSV) and HAI (influenza) performed on viruses representative of different clades/lineages </a:t>
            </a:r>
          </a:p>
        </p:txBody>
      </p:sp>
      <p:cxnSp>
        <p:nvCxnSpPr>
          <p:cNvPr id="78" name="Straight Connector 77"/>
          <p:cNvCxnSpPr/>
          <p:nvPr/>
        </p:nvCxnSpPr>
        <p:spPr>
          <a:xfrm>
            <a:off x="6149345" y="2680395"/>
            <a:ext cx="1" cy="1875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962718" y="1529015"/>
            <a:ext cx="34648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/>
          <p:cNvSpPr/>
          <p:nvPr/>
        </p:nvSpPr>
        <p:spPr>
          <a:xfrm>
            <a:off x="82090" y="1716575"/>
            <a:ext cx="2170598" cy="68126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200" i="1" dirty="0" err="1">
                <a:solidFill>
                  <a:prstClr val="black"/>
                </a:solidFill>
                <a:latin typeface="Calibri" panose="020F0502020204030204"/>
              </a:rPr>
              <a:t>Bordetella</a:t>
            </a:r>
            <a:r>
              <a:rPr lang="en-US" sz="1200" i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spp.</a:t>
            </a:r>
          </a:p>
          <a:p>
            <a:pPr algn="ctr" defTabSz="685800"/>
            <a:r>
              <a:rPr lang="en-US" sz="1050" i="1" dirty="0">
                <a:solidFill>
                  <a:prstClr val="black"/>
                </a:solidFill>
                <a:latin typeface="Calibri" panose="020F0502020204030204"/>
              </a:rPr>
              <a:t>(B. pertussis, B. </a:t>
            </a:r>
            <a:r>
              <a:rPr lang="en-US" sz="1050" i="1" dirty="0" err="1">
                <a:solidFill>
                  <a:prstClr val="black"/>
                </a:solidFill>
                <a:latin typeface="Calibri" panose="020F0502020204030204"/>
              </a:rPr>
              <a:t>parapertussis</a:t>
            </a:r>
            <a:r>
              <a:rPr lang="en-US" sz="1050" i="1" dirty="0">
                <a:solidFill>
                  <a:prstClr val="black"/>
                </a:solidFill>
                <a:latin typeface="Calibri" panose="020F0502020204030204"/>
              </a:rPr>
              <a:t>, </a:t>
            </a:r>
          </a:p>
          <a:p>
            <a:pPr algn="ctr" defTabSz="685800"/>
            <a:r>
              <a:rPr lang="en-US" sz="1050" i="1" dirty="0">
                <a:solidFill>
                  <a:prstClr val="black"/>
                </a:solidFill>
                <a:latin typeface="Calibri" panose="020F0502020204030204"/>
              </a:rPr>
              <a:t>B. </a:t>
            </a:r>
            <a:r>
              <a:rPr lang="en-US" sz="1050" i="1" dirty="0" err="1">
                <a:solidFill>
                  <a:prstClr val="black"/>
                </a:solidFill>
                <a:latin typeface="Calibri" panose="020F0502020204030204"/>
              </a:rPr>
              <a:t>holmesii</a:t>
            </a:r>
            <a:r>
              <a:rPr lang="en-US" sz="1050" i="1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  <a:p>
            <a:pPr algn="ctr" defTabSz="685800"/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(In-house PCR - </a:t>
            </a:r>
            <a:r>
              <a:rPr lang="en-US" sz="750" dirty="0" err="1">
                <a:solidFill>
                  <a:prstClr val="black"/>
                </a:solidFill>
                <a:latin typeface="Calibri" panose="020F0502020204030204"/>
              </a:rPr>
              <a:t>Tatti</a:t>
            </a:r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750" i="1" dirty="0">
                <a:solidFill>
                  <a:prstClr val="black"/>
                </a:solidFill>
                <a:latin typeface="Calibri" panose="020F0502020204030204"/>
              </a:rPr>
              <a:t>et al</a:t>
            </a:r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, J. </a:t>
            </a:r>
            <a:r>
              <a:rPr lang="en-US" sz="750" dirty="0" err="1">
                <a:solidFill>
                  <a:prstClr val="black"/>
                </a:solidFill>
                <a:latin typeface="Calibri" panose="020F0502020204030204"/>
              </a:rPr>
              <a:t>Clin</a:t>
            </a:r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. </a:t>
            </a:r>
            <a:r>
              <a:rPr lang="en-US" sz="750" dirty="0" err="1">
                <a:solidFill>
                  <a:prstClr val="black"/>
                </a:solidFill>
                <a:latin typeface="Calibri" panose="020F0502020204030204"/>
              </a:rPr>
              <a:t>Microbiol</a:t>
            </a:r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 2011)</a:t>
            </a:r>
            <a:endParaRPr lang="en-US" sz="1050" i="1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0" name="Straight Connector 89"/>
          <p:cNvCxnSpPr/>
          <p:nvPr/>
        </p:nvCxnSpPr>
        <p:spPr>
          <a:xfrm>
            <a:off x="1803340" y="4152641"/>
            <a:ext cx="0" cy="43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7745387" y="2854518"/>
            <a:ext cx="1184593" cy="43401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Negative</a:t>
            </a:r>
          </a:p>
        </p:txBody>
      </p:sp>
      <p:cxnSp>
        <p:nvCxnSpPr>
          <p:cNvPr id="94" name="Straight Connector 93"/>
          <p:cNvCxnSpPr/>
          <p:nvPr/>
        </p:nvCxnSpPr>
        <p:spPr>
          <a:xfrm>
            <a:off x="8337682" y="2659428"/>
            <a:ext cx="1" cy="1875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8327779" y="3241120"/>
            <a:ext cx="0" cy="426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/>
          <p:cNvSpPr/>
          <p:nvPr/>
        </p:nvSpPr>
        <p:spPr>
          <a:xfrm>
            <a:off x="7306887" y="3667432"/>
            <a:ext cx="1763338" cy="60733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ulti-pathogen testing</a:t>
            </a:r>
          </a:p>
          <a:p>
            <a:pPr marL="128588" indent="-128588" defTabSz="685800" fontAlgn="base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Respiratory 2.1 (RP2.1) </a:t>
            </a:r>
            <a:r>
              <a:rPr lang="en-US" sz="900" i="1" dirty="0">
                <a:solidFill>
                  <a:prstClr val="black"/>
                </a:solidFill>
                <a:latin typeface="Calibri" panose="020F0502020204030204"/>
              </a:rPr>
              <a:t>plus</a:t>
            </a:r>
          </a:p>
          <a:p>
            <a:pPr marL="128588" indent="-128588" defTabSz="685800" fontAlgn="base"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prstClr val="black"/>
                </a:solidFill>
                <a:latin typeface="Calibri" panose="020F0502020204030204"/>
              </a:rPr>
              <a:t>VirCapSeq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-VERT sequencing</a:t>
            </a:r>
          </a:p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prstClr val="black"/>
                </a:solidFill>
                <a:latin typeface="Calibri" panose="020F0502020204030204"/>
              </a:rPr>
              <a:t>Metagenomic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 sequencing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8310124" y="3323547"/>
            <a:ext cx="89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0% random selection</a:t>
            </a:r>
          </a:p>
        </p:txBody>
      </p:sp>
      <p:pic>
        <p:nvPicPr>
          <p:cNvPr id="99" name="Picture 12" descr="NICD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74842" y="88692"/>
            <a:ext cx="1777727" cy="6175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13172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087" y="87474"/>
            <a:ext cx="8699156" cy="647661"/>
          </a:xfrm>
        </p:spPr>
        <p:txBody>
          <a:bodyPr>
            <a:noAutofit/>
          </a:bodyPr>
          <a:lstStyle/>
          <a:p>
            <a:pPr algn="ctr"/>
            <a:r>
              <a:rPr lang="en-US" sz="1800" b="1" dirty="0">
                <a:latin typeface="+mn-lt"/>
              </a:rPr>
              <a:t>Number of influenza cases by subtype/lineage and moving average detection rate by </a:t>
            </a:r>
            <a:br>
              <a:rPr lang="en-US" sz="1800" b="1" dirty="0">
                <a:latin typeface="+mn-lt"/>
              </a:rPr>
            </a:br>
            <a:r>
              <a:rPr lang="en-US" sz="1800" b="1" dirty="0">
                <a:latin typeface="+mn-lt"/>
              </a:rPr>
              <a:t>epidemiologic week - pneumonia surveillance in public hospitals, 2018-2023</a:t>
            </a:r>
            <a:endParaRPr lang="en-ZA" sz="1800" b="1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2FD607-D2C7-41D7-BCF8-83CDC46CF7F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/>
        </p:nvGraphicFramePr>
        <p:xfrm>
          <a:off x="280087" y="735135"/>
          <a:ext cx="8863913" cy="4032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98840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05DE349-C66F-C1DD-67B6-6797DE284D6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43"/>
          <a:stretch>
            <a:fillRect/>
          </a:stretch>
        </p:blipFill>
        <p:spPr bwMode="auto">
          <a:xfrm>
            <a:off x="544966" y="398055"/>
            <a:ext cx="2502354" cy="139694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EE6600-6F4F-91FD-4659-48483175BF74}"/>
              </a:ext>
            </a:extLst>
          </p:cNvPr>
          <p:cNvSpPr txBox="1"/>
          <p:nvPr/>
        </p:nvSpPr>
        <p:spPr>
          <a:xfrm>
            <a:off x="3517641" y="-26464"/>
            <a:ext cx="24238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Influenza - 2025</a:t>
            </a:r>
            <a:endParaRPr lang="en-ZA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F8227B-0336-3006-EE93-FC9B0E6BC3D5}"/>
              </a:ext>
            </a:extLst>
          </p:cNvPr>
          <p:cNvSpPr txBox="1"/>
          <p:nvPr/>
        </p:nvSpPr>
        <p:spPr>
          <a:xfrm>
            <a:off x="0" y="528028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VW</a:t>
            </a:r>
            <a:endParaRPr lang="en-ZA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794E84-53BD-91C3-BDE0-311D3FD9D0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9"/>
          <a:stretch>
            <a:fillRect/>
          </a:stretch>
        </p:blipFill>
        <p:spPr bwMode="auto">
          <a:xfrm>
            <a:off x="544966" y="1996303"/>
            <a:ext cx="2431142" cy="129957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E13F0E5-D2D0-7C7D-EB88-B9B135088B6E}"/>
              </a:ext>
            </a:extLst>
          </p:cNvPr>
          <p:cNvSpPr txBox="1"/>
          <p:nvPr/>
        </p:nvSpPr>
        <p:spPr>
          <a:xfrm>
            <a:off x="0" y="2090777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ILI</a:t>
            </a:r>
            <a:endParaRPr lang="en-ZA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C8862B-28F4-7482-C0CB-15F4EBC1F9F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34"/>
          <a:stretch>
            <a:fillRect/>
          </a:stretch>
        </p:blipFill>
        <p:spPr bwMode="auto">
          <a:xfrm>
            <a:off x="3047319" y="1968374"/>
            <a:ext cx="2765651" cy="14015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82196D7-EE5C-57B7-BC1B-562CFB58B71D}"/>
              </a:ext>
            </a:extLst>
          </p:cNvPr>
          <p:cNvSpPr txBox="1"/>
          <p:nvPr/>
        </p:nvSpPr>
        <p:spPr>
          <a:xfrm>
            <a:off x="0" y="3543307"/>
            <a:ext cx="580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SRI</a:t>
            </a:r>
            <a:endParaRPr lang="en-ZA" sz="16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E8C0AA-E546-1396-4B1B-DFF61DFDBEE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28"/>
          <a:stretch>
            <a:fillRect/>
          </a:stretch>
        </p:blipFill>
        <p:spPr bwMode="auto">
          <a:xfrm>
            <a:off x="472508" y="3543307"/>
            <a:ext cx="2647270" cy="146154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B3E3AB2-B717-4713-7A78-665D5840576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54"/>
          <a:stretch>
            <a:fillRect/>
          </a:stretch>
        </p:blipFill>
        <p:spPr bwMode="auto">
          <a:xfrm>
            <a:off x="3047320" y="3543307"/>
            <a:ext cx="2843947" cy="146154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F215CE3-0C77-6C5A-1512-9C25EBE725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91267" y="832181"/>
            <a:ext cx="3203548" cy="150139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94DEDEF-F71F-2EBA-CFE8-6C1BD8E54F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41527" y="2651799"/>
            <a:ext cx="3153288" cy="165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3907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ntigenic characteris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4929" y="1200151"/>
            <a:ext cx="4172530" cy="3371849"/>
          </a:xfrm>
        </p:spPr>
        <p:txBody>
          <a:bodyPr>
            <a:normAutofit fontScale="77500" lnSpcReduction="20000"/>
          </a:bodyPr>
          <a:lstStyle/>
          <a:p>
            <a:r>
              <a:rPr lang="en-GB" dirty="0" err="1"/>
              <a:t>Hemagglutination</a:t>
            </a:r>
            <a:r>
              <a:rPr lang="en-GB" dirty="0"/>
              <a:t> inhibition assay (HAI test) </a:t>
            </a:r>
          </a:p>
          <a:p>
            <a:r>
              <a:rPr lang="en-GB" dirty="0"/>
              <a:t>Determine whether antibodies developed after vaccination are similar to circulating influenza viruses</a:t>
            </a:r>
          </a:p>
          <a:p>
            <a:r>
              <a:rPr lang="en-GB" dirty="0"/>
              <a:t>Influenza viruses to be antigenically similar or “like” each other if their HI </a:t>
            </a:r>
            <a:r>
              <a:rPr lang="en-GB" dirty="0" err="1"/>
              <a:t>titers</a:t>
            </a:r>
            <a:r>
              <a:rPr lang="en-GB" dirty="0"/>
              <a:t> differ by two dilutions or less</a:t>
            </a:r>
          </a:p>
          <a:p>
            <a:r>
              <a:rPr lang="en-GB" dirty="0"/>
              <a:t>Circulating viruses that are antigenically dissimilar (i.e. not “like”) to vaccine virus are considered “low reactors”</a:t>
            </a:r>
            <a:endParaRPr lang="en-ZA" dirty="0"/>
          </a:p>
        </p:txBody>
      </p:sp>
      <p:pic>
        <p:nvPicPr>
          <p:cNvPr id="6146" name="Picture 2" descr="The HI test involves the interaction of red blood cells (RBCs), antibody and influenza virus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605" y="931309"/>
            <a:ext cx="3231681" cy="242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When CDC antigenically characterizes influenza viruses to inform decisions on the formulation of the seasonal flu vaccine, the HI test is used to compare currently circulating viruses (B&amp;C) with vaccine viruses (A)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6973" y="3225853"/>
            <a:ext cx="4005909" cy="990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6437878" y="4682642"/>
            <a:ext cx="27710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cdc.gov/flu/</a:t>
            </a:r>
          </a:p>
        </p:txBody>
      </p:sp>
    </p:spTree>
    <p:extLst>
      <p:ext uri="{BB962C8B-B14F-4D97-AF65-F5344CB8AC3E}">
        <p14:creationId xmlns:p14="http://schemas.microsoft.com/office/powerpoint/2010/main" val="1375613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fc5.hbZnJslbzDCr_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fc5.hbZnJslbzDCr_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488</TotalTime>
  <Words>1746</Words>
  <Application>Microsoft Office PowerPoint</Application>
  <PresentationFormat>On-screen Show (16:9)</PresentationFormat>
  <Paragraphs>247</Paragraphs>
  <Slides>2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alibri Light</vt:lpstr>
      <vt:lpstr>Century Gothic</vt:lpstr>
      <vt:lpstr>Office Theme</vt:lpstr>
      <vt:lpstr>1_Office Theme</vt:lpstr>
      <vt:lpstr>2_Office Theme</vt:lpstr>
      <vt:lpstr>5_Office Theme</vt:lpstr>
      <vt:lpstr>think-cell Slide</vt:lpstr>
      <vt:lpstr>PowerPoint Presentation</vt:lpstr>
      <vt:lpstr>WHO's Global Influenza Surveillance and Response System (GISRS)</vt:lpstr>
      <vt:lpstr>Respiratory Virus Genomic Collaboration</vt:lpstr>
      <vt:lpstr>Integrated sentinel surveillance</vt:lpstr>
      <vt:lpstr>Influenza surveillance programmes in SA</vt:lpstr>
      <vt:lpstr>Molecular testing in CRDM</vt:lpstr>
      <vt:lpstr>Number of influenza cases by subtype/lineage and moving average detection rate by  epidemiologic week - pneumonia surveillance in public hospitals, 2018-2023</vt:lpstr>
      <vt:lpstr>PowerPoint Presentation</vt:lpstr>
      <vt:lpstr>Antigenic characterisation</vt:lpstr>
      <vt:lpstr>Genetic characterisation</vt:lpstr>
      <vt:lpstr>PowerPoint Presentation</vt:lpstr>
      <vt:lpstr>PowerPoint Presentation</vt:lpstr>
      <vt:lpstr>RSV F amino acid substitutions in South Africa (2021, 2023) – relative to GISAID references </vt:lpstr>
      <vt:lpstr>F amino acid substitutions detected in RSV-A sequences over time (2021-2024) </vt:lpstr>
      <vt:lpstr>PowerPoint Presentation</vt:lpstr>
      <vt:lpstr>Weekly data reporting nationally and to World Health Organization </vt:lpstr>
      <vt:lpstr>Co-infection with influenza viruses can lead to new pandemic viruses</vt:lpstr>
      <vt:lpstr>Influenza A pandemics due to Ag shift</vt:lpstr>
      <vt:lpstr>Avian Influenza in Birds</vt:lpstr>
      <vt:lpstr>Migratory bird flyways</vt:lpstr>
      <vt:lpstr>Officially reported HPAI outbreaks (H5Nx and H7Nx subtypes) in sub-Saharan Africa, by onset date (1 October 2024 to date)</vt:lpstr>
      <vt:lpstr>How do we prepare for the next pandemic?</vt:lpstr>
      <vt:lpstr>Vet Watch: Sentinel surveillance for avian influenza in humans exposed to wild birds or poultry, South Africa </vt:lpstr>
      <vt:lpstr>Emerging virus detection methods</vt:lpstr>
      <vt:lpstr>Respiratory Virus Network in Africa</vt:lpstr>
      <vt:lpstr>What do we hope to achieve this week?</vt:lpstr>
      <vt:lpstr>Proposed nam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nal Nomathemba Bhiman</dc:creator>
  <cp:lastModifiedBy>Nicole Wolter</cp:lastModifiedBy>
  <cp:revision>476</cp:revision>
  <dcterms:created xsi:type="dcterms:W3CDTF">2018-07-10T11:32:16Z</dcterms:created>
  <dcterms:modified xsi:type="dcterms:W3CDTF">2025-09-05T13:22:01Z</dcterms:modified>
</cp:coreProperties>
</file>